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259" r:id="rId5"/>
    <p:sldId id="2602" r:id="rId6"/>
    <p:sldId id="2609" r:id="rId7"/>
    <p:sldId id="2608" r:id="rId8"/>
    <p:sldId id="2612" r:id="rId9"/>
    <p:sldId id="2611" r:id="rId10"/>
    <p:sldId id="2613" r:id="rId11"/>
    <p:sldId id="2597" r:id="rId12"/>
    <p:sldId id="2606" r:id="rId13"/>
  </p:sldIdLst>
  <p:sldSz cx="12192000" cy="6858000"/>
  <p:notesSz cx="6858000" cy="9144000"/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0F3600-0826-17FF-7E37-2C103DAB479B}" name="Nataša Lops" initials="" userId="S::Natasa.Lops@patagonia.com::c4c1978c-e03d-4798-bc15-7654c3451aba" providerId="AD"/>
  <p188:author id="{80E1BC22-4526-4303-6549-0DB53F4CA6CE}" name="Leonard Basse" initials="LB" userId="S::leonard.basse@patagonia.com::e3f4cc90-05de-48d4-aa23-3ba95cf55e54" providerId="AD"/>
  <p188:author id="{1C769F28-3560-8BA2-4A8C-A1A10BF377DF}" name="Zoey Ni" initials="" userId="S::Zoey.Ni@patagonia.com::118933d9-c95f-477d-bc95-ac7f0269d08d" providerId="AD"/>
  <p188:author id="{783E0440-4F83-9F61-1F77-104FD01D0434}" name="Lina Miles" initials="" userId="S::Lina.Miles@patagonia.com::6c7e4463-c9e1-4337-add8-3124104fad0b" providerId="AD"/>
  <p188:author id="{920ED050-74F3-0184-C506-D437CCCFDF42}" name="Alena Zuschmann" initials="" userId="S::Alena.Zuschmann@patagonia.com::d0b99d3b-3d8b-4040-8707-c3d4481ad109" providerId="AD"/>
  <p188:author id="{671D9F62-E386-A454-2DEA-067B471CBF75}" name="Suzy Thomas" initials="" userId="S::Suzy.Thomas@patagonia.com::f97cd4f4-2ca3-4e1c-b10e-1585f366e727" providerId="AD"/>
  <p188:author id="{36DBE564-B7A3-4733-E4F2-EC8978B970C3}" name="Daniela Tucan" initials="DT" userId="S::daniela.tucan@patagonia.com::fe479b21-69e6-4a19-9386-4a595ac4fa62" providerId="AD"/>
  <p188:author id="{4A315C6D-16CD-1C64-2A5A-333AA1016314}" name="Jelle Mul" initials="JM" userId="S::jelle.mul@patagonia.com::c86ccea5-107d-4d2c-8cf0-a7e23efad156" providerId="AD"/>
  <p188:author id="{4ED8AE6D-7B19-2BB5-E99B-01EFF1DF0869}" name="Gina Lovett" initials="GL" userId="S::gina.lovett@patagonia.com::65402821-6e13-4772-ab65-999452b1f86c" providerId="AD"/>
  <p188:author id="{863C2876-C2F5-54AD-BC4E-4E0870A83921}" name="Ruben Vita" initials="" userId="S::Ruben.Vita@patagonia.com::84433ac9-cad4-4192-b1d4-11261166b3c0" providerId="AD"/>
  <p188:author id="{6E928D7B-E170-267B-3A74-F83BF4423BF9}" name="Julia Schellekens" initials="JS" userId="S::julia.schellekens@patagonia.com::d820fe29-53ea-40db-91ad-ccccdfdb554f" providerId="AD"/>
  <p188:author id="{DFE0CFA8-22A8-4D67-1095-413B96DC2A4E}" name="Ruben Vita" initials="RV" userId="S::ruben.vita@patagonia.com::84433ac9-cad4-4192-b1d4-11261166b3c0" providerId="AD"/>
  <p188:author id="{445306AF-DF10-7C58-E8C1-26AF14AFE00C}" name="Lauren Everett" initials="LE" userId="S::lauren.everett@patagonia.com::d9d86d07-483e-4006-b597-859daff6da47" providerId="AD"/>
  <p188:author id="{3233FFB6-9698-ECF3-BE14-11CEA16AF096}" name="Leonard Basse" initials="" userId="S::Leonard.Basse@patagonia.com::e3f4cc90-05de-48d4-aa23-3ba95cf55e54" providerId="AD"/>
  <p188:author id="{F17520C9-DFEB-221A-2955-9BBF6C849F50}" name="Jelle Mul" initials="" userId="S::Jelle.Mul@patagonia.com::c86ccea5-107d-4d2c-8cf0-a7e23efad156" providerId="AD"/>
  <p188:author id="{45CFE4D9-3B9E-D690-0FE0-863A3C7BD80C}" name="Lauren Henshaw" initials="LH" userId="S::Lauren.Henshaw@patagonia.com::62cb3463-60b0-46da-b0a7-8f5e9ab33c2b" providerId="AD"/>
  <p188:author id="{9506EADF-E45C-BCA8-010C-78918933A6E7}" name="Zoey Ni" initials="ZN" userId="S::zoey.ni@patagonia.com::118933d9-c95f-477d-bc95-ac7f0269d08d" providerId="AD"/>
  <p188:author id="{A23AC6E9-F223-6543-785F-89E68511A0CB}" name="Lina Miles" initials="LM" userId="S::lina.miles@patagonia.com::6c7e4463-c9e1-4337-add8-3124104fad0b" providerId="AD"/>
  <p188:author id="{7BAF29F0-05E4-456E-BE5D-8C9804E229BC}" name="Sophie Winter" initials="SW" userId="S::Sophie.Winter@patagonia.com::665ec976-9044-4911-972e-9726c7dd09eb" providerId="AD"/>
  <p188:author id="{33524FF4-07B8-C5A2-408F-75758AFD81A7}" name="Gina Lovett" initials="GL" userId="S::Gina.Lovett@patagonia.com::65402821-6e13-4772-ab65-999452b1f86c" providerId="AD"/>
  <p188:author id="{95E0FBF9-E241-2D7B-6A1A-A55494D9C8B8}" name="Lauren Henshaw" initials="LH" userId="S::lauren.henshaw@patagonia.com::62cb3463-60b0-46da-b0a7-8f5e9ab33c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D5759"/>
    <a:srgbClr val="FFFFFF"/>
    <a:srgbClr val="838481"/>
    <a:srgbClr val="363634"/>
    <a:srgbClr val="1A272D"/>
    <a:srgbClr val="555170"/>
    <a:srgbClr val="B66D5E"/>
    <a:srgbClr val="DCDAE4"/>
    <a:srgbClr val="447F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5B6D51-C3E1-405E-97E2-59B12C264325}" v="139" dt="2025-01-07T14:44:16.8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87" autoAdjust="0"/>
    <p:restoredTop sz="94521" autoAdjust="0"/>
  </p:normalViewPr>
  <p:slideViewPr>
    <p:cSldViewPr snapToGrid="0">
      <p:cViewPr varScale="1">
        <p:scale>
          <a:sx n="86" d="100"/>
          <a:sy n="86" d="100"/>
        </p:scale>
        <p:origin x="88" y="2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na Lovett" userId="65402821-6e13-4772-ab65-999452b1f86c" providerId="ADAL" clId="{605B6D51-C3E1-405E-97E2-59B12C264325}"/>
    <pc:docChg chg="undo redo custSel addSld delSld modSld sldOrd">
      <pc:chgData name="Gina Lovett" userId="65402821-6e13-4772-ab65-999452b1f86c" providerId="ADAL" clId="{605B6D51-C3E1-405E-97E2-59B12C264325}" dt="2025-01-08T13:38:26.935" v="3655" actId="113"/>
      <pc:docMkLst>
        <pc:docMk/>
      </pc:docMkLst>
      <pc:sldChg chg="add del">
        <pc:chgData name="Gina Lovett" userId="65402821-6e13-4772-ab65-999452b1f86c" providerId="ADAL" clId="{605B6D51-C3E1-405E-97E2-59B12C264325}" dt="2025-01-06T16:41:31.404" v="800" actId="47"/>
        <pc:sldMkLst>
          <pc:docMk/>
          <pc:sldMk cId="0" sldId="256"/>
        </pc:sldMkLst>
      </pc:sldChg>
      <pc:sldChg chg="add del">
        <pc:chgData name="Gina Lovett" userId="65402821-6e13-4772-ab65-999452b1f86c" providerId="ADAL" clId="{605B6D51-C3E1-405E-97E2-59B12C264325}" dt="2025-01-06T16:41:32.019" v="801" actId="47"/>
        <pc:sldMkLst>
          <pc:docMk/>
          <pc:sldMk cId="0" sldId="257"/>
        </pc:sldMkLst>
      </pc:sldChg>
      <pc:sldChg chg="add del">
        <pc:chgData name="Gina Lovett" userId="65402821-6e13-4772-ab65-999452b1f86c" providerId="ADAL" clId="{605B6D51-C3E1-405E-97E2-59B12C264325}" dt="2025-01-06T16:31:11.791" v="578" actId="47"/>
        <pc:sldMkLst>
          <pc:docMk/>
          <pc:sldMk cId="0" sldId="258"/>
        </pc:sldMkLst>
      </pc:sldChg>
      <pc:sldChg chg="delSp modSp mod">
        <pc:chgData name="Gina Lovett" userId="65402821-6e13-4772-ab65-999452b1f86c" providerId="ADAL" clId="{605B6D51-C3E1-405E-97E2-59B12C264325}" dt="2025-01-08T13:38:26.935" v="3655" actId="113"/>
        <pc:sldMkLst>
          <pc:docMk/>
          <pc:sldMk cId="2241113307" sldId="259"/>
        </pc:sldMkLst>
        <pc:spChg chg="mod">
          <ac:chgData name="Gina Lovett" userId="65402821-6e13-4772-ab65-999452b1f86c" providerId="ADAL" clId="{605B6D51-C3E1-405E-97E2-59B12C264325}" dt="2025-01-06T14:49:43.305" v="52" actId="20577"/>
          <ac:spMkLst>
            <pc:docMk/>
            <pc:sldMk cId="2241113307" sldId="259"/>
            <ac:spMk id="4" creationId="{15935EE4-C4AB-9F00-82CB-F7B9A94CEF5F}"/>
          </ac:spMkLst>
        </pc:spChg>
        <pc:spChg chg="mod">
          <ac:chgData name="Gina Lovett" userId="65402821-6e13-4772-ab65-999452b1f86c" providerId="ADAL" clId="{605B6D51-C3E1-405E-97E2-59B12C264325}" dt="2025-01-08T13:38:26.935" v="3655" actId="113"/>
          <ac:spMkLst>
            <pc:docMk/>
            <pc:sldMk cId="2241113307" sldId="259"/>
            <ac:spMk id="5" creationId="{DF935CB9-9B70-CA22-A704-41A8E6A6F1B7}"/>
          </ac:spMkLst>
        </pc:spChg>
      </pc:sldChg>
      <pc:sldChg chg="add del mod ord modShow">
        <pc:chgData name="Gina Lovett" userId="65402821-6e13-4772-ab65-999452b1f86c" providerId="ADAL" clId="{605B6D51-C3E1-405E-97E2-59B12C264325}" dt="2025-01-07T14:44:36.288" v="3525" actId="47"/>
        <pc:sldMkLst>
          <pc:docMk/>
          <pc:sldMk cId="0" sldId="260"/>
        </pc:sldMkLst>
      </pc:sldChg>
      <pc:sldChg chg="addSp modSp add del mod ord setBg modShow modNotesTx">
        <pc:chgData name="Gina Lovett" userId="65402821-6e13-4772-ab65-999452b1f86c" providerId="ADAL" clId="{605B6D51-C3E1-405E-97E2-59B12C264325}" dt="2025-01-07T14:40:15.363" v="3485" actId="47"/>
        <pc:sldMkLst>
          <pc:docMk/>
          <pc:sldMk cId="0" sldId="261"/>
        </pc:sldMkLst>
        <pc:spChg chg="mod">
          <ac:chgData name="Gina Lovett" userId="65402821-6e13-4772-ab65-999452b1f86c" providerId="ADAL" clId="{605B6D51-C3E1-405E-97E2-59B12C264325}" dt="2025-01-07T13:40:43.987" v="2245" actId="20577"/>
          <ac:spMkLst>
            <pc:docMk/>
            <pc:sldMk cId="0" sldId="261"/>
            <ac:spMk id="2" creationId="{00000000-0000-0000-0000-000000000000}"/>
          </ac:spMkLst>
        </pc:spChg>
        <pc:spChg chg="mod">
          <ac:chgData name="Gina Lovett" userId="65402821-6e13-4772-ab65-999452b1f86c" providerId="ADAL" clId="{605B6D51-C3E1-405E-97E2-59B12C264325}" dt="2025-01-07T13:32:18.457" v="2094" actId="1076"/>
          <ac:spMkLst>
            <pc:docMk/>
            <pc:sldMk cId="0" sldId="261"/>
            <ac:spMk id="3" creationId="{00000000-0000-0000-0000-000000000000}"/>
          </ac:spMkLst>
        </pc:spChg>
        <pc:spChg chg="mod">
          <ac:chgData name="Gina Lovett" userId="65402821-6e13-4772-ab65-999452b1f86c" providerId="ADAL" clId="{605B6D51-C3E1-405E-97E2-59B12C264325}" dt="2025-01-07T13:32:22.495" v="2095" actId="1076"/>
          <ac:spMkLst>
            <pc:docMk/>
            <pc:sldMk cId="0" sldId="261"/>
            <ac:spMk id="4" creationId="{00000000-0000-0000-0000-000000000000}"/>
          </ac:spMkLst>
        </pc:spChg>
        <pc:spChg chg="add mod">
          <ac:chgData name="Gina Lovett" userId="65402821-6e13-4772-ab65-999452b1f86c" providerId="ADAL" clId="{605B6D51-C3E1-405E-97E2-59B12C264325}" dt="2025-01-07T13:40:50.683" v="2246" actId="1076"/>
          <ac:spMkLst>
            <pc:docMk/>
            <pc:sldMk cId="0" sldId="261"/>
            <ac:spMk id="5" creationId="{89C31E2B-FBC0-4827-C9F5-F9FA6E48B1B1}"/>
          </ac:spMkLst>
        </pc:spChg>
        <pc:spChg chg="add mod">
          <ac:chgData name="Gina Lovett" userId="65402821-6e13-4772-ab65-999452b1f86c" providerId="ADAL" clId="{605B6D51-C3E1-405E-97E2-59B12C264325}" dt="2025-01-07T14:20:11.469" v="3146" actId="1076"/>
          <ac:spMkLst>
            <pc:docMk/>
            <pc:sldMk cId="0" sldId="261"/>
            <ac:spMk id="6" creationId="{124D0AA1-AA25-18B2-CB63-B6A39F5CD761}"/>
          </ac:spMkLst>
        </pc:spChg>
        <pc:spChg chg="add mod">
          <ac:chgData name="Gina Lovett" userId="65402821-6e13-4772-ab65-999452b1f86c" providerId="ADAL" clId="{605B6D51-C3E1-405E-97E2-59B12C264325}" dt="2025-01-07T13:33:14.317" v="2115" actId="1038"/>
          <ac:spMkLst>
            <pc:docMk/>
            <pc:sldMk cId="0" sldId="261"/>
            <ac:spMk id="7" creationId="{2D41B60B-F60D-95EB-B293-A6538D3C2558}"/>
          </ac:spMkLst>
        </pc:spChg>
        <pc:spChg chg="add mod">
          <ac:chgData name="Gina Lovett" userId="65402821-6e13-4772-ab65-999452b1f86c" providerId="ADAL" clId="{605B6D51-C3E1-405E-97E2-59B12C264325}" dt="2025-01-07T13:35:29.871" v="2175" actId="20577"/>
          <ac:spMkLst>
            <pc:docMk/>
            <pc:sldMk cId="0" sldId="261"/>
            <ac:spMk id="8" creationId="{5504770A-B863-1AAA-B007-A8A6EBC10071}"/>
          </ac:spMkLst>
        </pc:spChg>
        <pc:spChg chg="add mod">
          <ac:chgData name="Gina Lovett" userId="65402821-6e13-4772-ab65-999452b1f86c" providerId="ADAL" clId="{605B6D51-C3E1-405E-97E2-59B12C264325}" dt="2025-01-07T13:36:05.620" v="2229" actId="20577"/>
          <ac:spMkLst>
            <pc:docMk/>
            <pc:sldMk cId="0" sldId="261"/>
            <ac:spMk id="9" creationId="{FF3F1AEB-BDBD-5CF8-EA8B-8F1920C0A412}"/>
          </ac:spMkLst>
        </pc:spChg>
      </pc:sldChg>
      <pc:sldChg chg="add del mod ord modShow">
        <pc:chgData name="Gina Lovett" userId="65402821-6e13-4772-ab65-999452b1f86c" providerId="ADAL" clId="{605B6D51-C3E1-405E-97E2-59B12C264325}" dt="2025-01-07T14:44:37.127" v="3527" actId="47"/>
        <pc:sldMkLst>
          <pc:docMk/>
          <pc:sldMk cId="0" sldId="262"/>
        </pc:sldMkLst>
      </pc:sldChg>
      <pc:sldChg chg="add del mod ord modShow">
        <pc:chgData name="Gina Lovett" userId="65402821-6e13-4772-ab65-999452b1f86c" providerId="ADAL" clId="{605B6D51-C3E1-405E-97E2-59B12C264325}" dt="2025-01-07T14:44:36.404" v="3526" actId="47"/>
        <pc:sldMkLst>
          <pc:docMk/>
          <pc:sldMk cId="0" sldId="263"/>
        </pc:sldMkLst>
      </pc:sldChg>
      <pc:sldChg chg="add del">
        <pc:chgData name="Gina Lovett" userId="65402821-6e13-4772-ab65-999452b1f86c" providerId="ADAL" clId="{605B6D51-C3E1-405E-97E2-59B12C264325}" dt="2025-01-06T16:41:54.673" v="802" actId="47"/>
        <pc:sldMkLst>
          <pc:docMk/>
          <pc:sldMk cId="0" sldId="264"/>
        </pc:sldMkLst>
      </pc:sldChg>
      <pc:sldChg chg="add del">
        <pc:chgData name="Gina Lovett" userId="65402821-6e13-4772-ab65-999452b1f86c" providerId="ADAL" clId="{605B6D51-C3E1-405E-97E2-59B12C264325}" dt="2025-01-06T16:41:55.568" v="803" actId="47"/>
        <pc:sldMkLst>
          <pc:docMk/>
          <pc:sldMk cId="0" sldId="265"/>
        </pc:sldMkLst>
      </pc:sldChg>
      <pc:sldChg chg="add del">
        <pc:chgData name="Gina Lovett" userId="65402821-6e13-4772-ab65-999452b1f86c" providerId="ADAL" clId="{605B6D51-C3E1-405E-97E2-59B12C264325}" dt="2025-01-06T16:41:56.783" v="804" actId="47"/>
        <pc:sldMkLst>
          <pc:docMk/>
          <pc:sldMk cId="0" sldId="266"/>
        </pc:sldMkLst>
      </pc:sldChg>
      <pc:sldChg chg="modSp add del mod ord modShow">
        <pc:chgData name="Gina Lovett" userId="65402821-6e13-4772-ab65-999452b1f86c" providerId="ADAL" clId="{605B6D51-C3E1-405E-97E2-59B12C264325}" dt="2025-01-07T14:40:51.073" v="3486" actId="47"/>
        <pc:sldMkLst>
          <pc:docMk/>
          <pc:sldMk cId="0" sldId="267"/>
        </pc:sldMkLst>
      </pc:sldChg>
      <pc:sldChg chg="add del">
        <pc:chgData name="Gina Lovett" userId="65402821-6e13-4772-ab65-999452b1f86c" providerId="ADAL" clId="{605B6D51-C3E1-405E-97E2-59B12C264325}" dt="2025-01-06T16:42:01.844" v="805" actId="47"/>
        <pc:sldMkLst>
          <pc:docMk/>
          <pc:sldMk cId="0" sldId="268"/>
        </pc:sldMkLst>
      </pc:sldChg>
      <pc:sldChg chg="modSp add del mod ord setBg modShow">
        <pc:chgData name="Gina Lovett" userId="65402821-6e13-4772-ab65-999452b1f86c" providerId="ADAL" clId="{605B6D51-C3E1-405E-97E2-59B12C264325}" dt="2025-01-07T14:40:57.831" v="3487" actId="47"/>
        <pc:sldMkLst>
          <pc:docMk/>
          <pc:sldMk cId="0" sldId="269"/>
        </pc:sldMkLst>
      </pc:sldChg>
      <pc:sldChg chg="modSp add del mod ord modShow">
        <pc:chgData name="Gina Lovett" userId="65402821-6e13-4772-ab65-999452b1f86c" providerId="ADAL" clId="{605B6D51-C3E1-405E-97E2-59B12C264325}" dt="2025-01-07T14:40:58.728" v="3488" actId="47"/>
        <pc:sldMkLst>
          <pc:docMk/>
          <pc:sldMk cId="0" sldId="270"/>
        </pc:sldMkLst>
      </pc:sldChg>
      <pc:sldChg chg="add del">
        <pc:chgData name="Gina Lovett" userId="65402821-6e13-4772-ab65-999452b1f86c" providerId="ADAL" clId="{605B6D51-C3E1-405E-97E2-59B12C264325}" dt="2025-01-06T16:43:08.636" v="820" actId="47"/>
        <pc:sldMkLst>
          <pc:docMk/>
          <pc:sldMk cId="0" sldId="271"/>
        </pc:sldMkLst>
      </pc:sldChg>
      <pc:sldChg chg="add del">
        <pc:chgData name="Gina Lovett" userId="65402821-6e13-4772-ab65-999452b1f86c" providerId="ADAL" clId="{605B6D51-C3E1-405E-97E2-59B12C264325}" dt="2025-01-06T16:43:11.078" v="821" actId="47"/>
        <pc:sldMkLst>
          <pc:docMk/>
          <pc:sldMk cId="0" sldId="272"/>
        </pc:sldMkLst>
      </pc:sldChg>
      <pc:sldChg chg="add del">
        <pc:chgData name="Gina Lovett" userId="65402821-6e13-4772-ab65-999452b1f86c" providerId="ADAL" clId="{605B6D51-C3E1-405E-97E2-59B12C264325}" dt="2025-01-06T16:43:14.003" v="822" actId="47"/>
        <pc:sldMkLst>
          <pc:docMk/>
          <pc:sldMk cId="0" sldId="273"/>
        </pc:sldMkLst>
      </pc:sldChg>
      <pc:sldChg chg="del">
        <pc:chgData name="Gina Lovett" userId="65402821-6e13-4772-ab65-999452b1f86c" providerId="ADAL" clId="{605B6D51-C3E1-405E-97E2-59B12C264325}" dt="2025-01-06T16:43:41.200" v="832" actId="47"/>
        <pc:sldMkLst>
          <pc:docMk/>
          <pc:sldMk cId="3658608138" sldId="279"/>
        </pc:sldMkLst>
      </pc:sldChg>
      <pc:sldChg chg="del">
        <pc:chgData name="Gina Lovett" userId="65402821-6e13-4772-ab65-999452b1f86c" providerId="ADAL" clId="{605B6D51-C3E1-405E-97E2-59B12C264325}" dt="2025-01-06T16:43:23.919" v="824" actId="47"/>
        <pc:sldMkLst>
          <pc:docMk/>
          <pc:sldMk cId="3371252864" sldId="280"/>
        </pc:sldMkLst>
      </pc:sldChg>
      <pc:sldChg chg="del">
        <pc:chgData name="Gina Lovett" userId="65402821-6e13-4772-ab65-999452b1f86c" providerId="ADAL" clId="{605B6D51-C3E1-405E-97E2-59B12C264325}" dt="2025-01-06T16:43:22.387" v="823" actId="47"/>
        <pc:sldMkLst>
          <pc:docMk/>
          <pc:sldMk cId="3368914805" sldId="281"/>
        </pc:sldMkLst>
      </pc:sldChg>
      <pc:sldChg chg="del">
        <pc:chgData name="Gina Lovett" userId="65402821-6e13-4772-ab65-999452b1f86c" providerId="ADAL" clId="{605B6D51-C3E1-405E-97E2-59B12C264325}" dt="2025-01-06T16:43:25.912" v="825" actId="47"/>
        <pc:sldMkLst>
          <pc:docMk/>
          <pc:sldMk cId="1613669325" sldId="2508"/>
        </pc:sldMkLst>
      </pc:sldChg>
      <pc:sldChg chg="del">
        <pc:chgData name="Gina Lovett" userId="65402821-6e13-4772-ab65-999452b1f86c" providerId="ADAL" clId="{605B6D51-C3E1-405E-97E2-59B12C264325}" dt="2025-01-06T16:43:38.839" v="830" actId="47"/>
        <pc:sldMkLst>
          <pc:docMk/>
          <pc:sldMk cId="2056761674" sldId="2578"/>
        </pc:sldMkLst>
      </pc:sldChg>
      <pc:sldChg chg="del">
        <pc:chgData name="Gina Lovett" userId="65402821-6e13-4772-ab65-999452b1f86c" providerId="ADAL" clId="{605B6D51-C3E1-405E-97E2-59B12C264325}" dt="2025-01-06T16:43:28.334" v="827" actId="47"/>
        <pc:sldMkLst>
          <pc:docMk/>
          <pc:sldMk cId="1890998204" sldId="2592"/>
        </pc:sldMkLst>
      </pc:sldChg>
      <pc:sldChg chg="del">
        <pc:chgData name="Gina Lovett" userId="65402821-6e13-4772-ab65-999452b1f86c" providerId="ADAL" clId="{605B6D51-C3E1-405E-97E2-59B12C264325}" dt="2025-01-06T16:43:37.250" v="829" actId="47"/>
        <pc:sldMkLst>
          <pc:docMk/>
          <pc:sldMk cId="1975422207" sldId="2593"/>
        </pc:sldMkLst>
      </pc:sldChg>
      <pc:sldChg chg="del">
        <pc:chgData name="Gina Lovett" userId="65402821-6e13-4772-ab65-999452b1f86c" providerId="ADAL" clId="{605B6D51-C3E1-405E-97E2-59B12C264325}" dt="2025-01-06T16:43:34.313" v="828" actId="47"/>
        <pc:sldMkLst>
          <pc:docMk/>
          <pc:sldMk cId="119291215" sldId="2594"/>
        </pc:sldMkLst>
      </pc:sldChg>
      <pc:sldChg chg="del">
        <pc:chgData name="Gina Lovett" userId="65402821-6e13-4772-ab65-999452b1f86c" providerId="ADAL" clId="{605B6D51-C3E1-405E-97E2-59B12C264325}" dt="2025-01-06T16:43:27.168" v="826" actId="47"/>
        <pc:sldMkLst>
          <pc:docMk/>
          <pc:sldMk cId="899931720" sldId="2595"/>
        </pc:sldMkLst>
      </pc:sldChg>
      <pc:sldChg chg="del">
        <pc:chgData name="Gina Lovett" userId="65402821-6e13-4772-ab65-999452b1f86c" providerId="ADAL" clId="{605B6D51-C3E1-405E-97E2-59B12C264325}" dt="2025-01-06T16:43:40.077" v="831" actId="47"/>
        <pc:sldMkLst>
          <pc:docMk/>
          <pc:sldMk cId="2485333931" sldId="2596"/>
        </pc:sldMkLst>
      </pc:sldChg>
      <pc:sldChg chg="addSp delSp modSp new mod modClrScheme chgLayout">
        <pc:chgData name="Gina Lovett" userId="65402821-6e13-4772-ab65-999452b1f86c" providerId="ADAL" clId="{605B6D51-C3E1-405E-97E2-59B12C264325}" dt="2025-01-07T15:22:38.698" v="3578" actId="14100"/>
        <pc:sldMkLst>
          <pc:docMk/>
          <pc:sldMk cId="3258793114" sldId="2597"/>
        </pc:sldMkLst>
        <pc:spChg chg="mod">
          <ac:chgData name="Gina Lovett" userId="65402821-6e13-4772-ab65-999452b1f86c" providerId="ADAL" clId="{605B6D51-C3E1-405E-97E2-59B12C264325}" dt="2025-01-06T15:04:50.035" v="134" actId="26606"/>
          <ac:spMkLst>
            <pc:docMk/>
            <pc:sldMk cId="3258793114" sldId="2597"/>
            <ac:spMk id="2" creationId="{42AD89B1-9DF6-14A6-3726-8131772E4801}"/>
          </ac:spMkLst>
        </pc:spChg>
        <pc:spChg chg="mod modVis">
          <ac:chgData name="Gina Lovett" userId="65402821-6e13-4772-ab65-999452b1f86c" providerId="ADAL" clId="{605B6D51-C3E1-405E-97E2-59B12C264325}" dt="2025-01-06T15:04:50.035" v="134" actId="26606"/>
          <ac:spMkLst>
            <pc:docMk/>
            <pc:sldMk cId="3258793114" sldId="2597"/>
            <ac:spMk id="5" creationId="{B92E1B8C-0095-A6C8-2955-9CD91A806424}"/>
          </ac:spMkLst>
        </pc:spChg>
        <pc:spChg chg="add mod ord">
          <ac:chgData name="Gina Lovett" userId="65402821-6e13-4772-ab65-999452b1f86c" providerId="ADAL" clId="{605B6D51-C3E1-405E-97E2-59B12C264325}" dt="2025-01-06T17:16:46.056" v="1566" actId="1076"/>
          <ac:spMkLst>
            <pc:docMk/>
            <pc:sldMk cId="3258793114" sldId="2597"/>
            <ac:spMk id="9" creationId="{CFE88549-073C-C963-4C34-F009197C77C2}"/>
          </ac:spMkLst>
        </pc:spChg>
        <pc:spChg chg="add mod">
          <ac:chgData name="Gina Lovett" userId="65402821-6e13-4772-ab65-999452b1f86c" providerId="ADAL" clId="{605B6D51-C3E1-405E-97E2-59B12C264325}" dt="2025-01-07T15:22:38.698" v="3578" actId="14100"/>
          <ac:spMkLst>
            <pc:docMk/>
            <pc:sldMk cId="3258793114" sldId="2597"/>
            <ac:spMk id="10" creationId="{ED172B33-9C9D-2D64-5C99-1AEB8C941BC8}"/>
          </ac:spMkLst>
        </pc:spChg>
        <pc:picChg chg="add mod ord modCrop">
          <ac:chgData name="Gina Lovett" userId="65402821-6e13-4772-ab65-999452b1f86c" providerId="ADAL" clId="{605B6D51-C3E1-405E-97E2-59B12C264325}" dt="2025-01-07T15:22:02.181" v="3575" actId="732"/>
          <ac:picMkLst>
            <pc:docMk/>
            <pc:sldMk cId="3258793114" sldId="2597"/>
            <ac:picMk id="8" creationId="{8142982A-ABE8-DCB5-4698-C573B7B250CF}"/>
          </ac:picMkLst>
        </pc:picChg>
      </pc:sldChg>
      <pc:sldChg chg="addSp delSp modSp new del mod ord modClrScheme modShow chgLayout">
        <pc:chgData name="Gina Lovett" userId="65402821-6e13-4772-ab65-999452b1f86c" providerId="ADAL" clId="{605B6D51-C3E1-405E-97E2-59B12C264325}" dt="2025-01-07T14:41:00.058" v="3489" actId="47"/>
        <pc:sldMkLst>
          <pc:docMk/>
          <pc:sldMk cId="4101333167" sldId="2598"/>
        </pc:sldMkLst>
      </pc:sldChg>
      <pc:sldChg chg="addSp delSp modSp new del mod ord setBg modShow">
        <pc:chgData name="Gina Lovett" userId="65402821-6e13-4772-ab65-999452b1f86c" providerId="ADAL" clId="{605B6D51-C3E1-405E-97E2-59B12C264325}" dt="2025-01-07T14:44:38.873" v="3529" actId="47"/>
        <pc:sldMkLst>
          <pc:docMk/>
          <pc:sldMk cId="1913690754" sldId="2599"/>
        </pc:sldMkLst>
      </pc:sldChg>
      <pc:sldChg chg="addSp delSp modSp new del mod modClrScheme chgLayout">
        <pc:chgData name="Gina Lovett" userId="65402821-6e13-4772-ab65-999452b1f86c" providerId="ADAL" clId="{605B6D51-C3E1-405E-97E2-59B12C264325}" dt="2025-01-06T17:13:46.058" v="1520" actId="47"/>
        <pc:sldMkLst>
          <pc:docMk/>
          <pc:sldMk cId="113928960" sldId="2600"/>
        </pc:sldMkLst>
      </pc:sldChg>
      <pc:sldChg chg="modSp new del mod">
        <pc:chgData name="Gina Lovett" userId="65402821-6e13-4772-ab65-999452b1f86c" providerId="ADAL" clId="{605B6D51-C3E1-405E-97E2-59B12C264325}" dt="2025-01-06T15:05:37.904" v="146" actId="680"/>
        <pc:sldMkLst>
          <pc:docMk/>
          <pc:sldMk cId="3006458037" sldId="2600"/>
        </pc:sldMkLst>
      </pc:sldChg>
      <pc:sldChg chg="add del mod ord modShow">
        <pc:chgData name="Gina Lovett" userId="65402821-6e13-4772-ab65-999452b1f86c" providerId="ADAL" clId="{605B6D51-C3E1-405E-97E2-59B12C264325}" dt="2025-01-07T14:44:36.127" v="3524" actId="47"/>
        <pc:sldMkLst>
          <pc:docMk/>
          <pc:sldMk cId="0" sldId="2601"/>
        </pc:sldMkLst>
      </pc:sldChg>
      <pc:sldChg chg="addSp delSp modSp new mod ord modClrScheme chgLayout">
        <pc:chgData name="Gina Lovett" userId="65402821-6e13-4772-ab65-999452b1f86c" providerId="ADAL" clId="{605B6D51-C3E1-405E-97E2-59B12C264325}" dt="2025-01-06T17:13:50.378" v="1522"/>
        <pc:sldMkLst>
          <pc:docMk/>
          <pc:sldMk cId="998787569" sldId="2602"/>
        </pc:sldMkLst>
        <pc:picChg chg="add mod">
          <ac:chgData name="Gina Lovett" userId="65402821-6e13-4772-ab65-999452b1f86c" providerId="ADAL" clId="{605B6D51-C3E1-405E-97E2-59B12C264325}" dt="2025-01-06T16:36:49.490" v="616" actId="26606"/>
          <ac:picMkLst>
            <pc:docMk/>
            <pc:sldMk cId="998787569" sldId="2602"/>
            <ac:picMk id="4" creationId="{212F0343-20B6-7148-6F56-0649A4CA222A}"/>
          </ac:picMkLst>
        </pc:picChg>
      </pc:sldChg>
      <pc:sldChg chg="addSp delSp modSp new del mod setBg modClrScheme chgLayout">
        <pc:chgData name="Gina Lovett" userId="65402821-6e13-4772-ab65-999452b1f86c" providerId="ADAL" clId="{605B6D51-C3E1-405E-97E2-59B12C264325}" dt="2025-01-06T16:36:12.168" v="611" actId="47"/>
        <pc:sldMkLst>
          <pc:docMk/>
          <pc:sldMk cId="4247191866" sldId="2602"/>
        </pc:sldMkLst>
      </pc:sldChg>
      <pc:sldChg chg="new del mod ord modShow">
        <pc:chgData name="Gina Lovett" userId="65402821-6e13-4772-ab65-999452b1f86c" providerId="ADAL" clId="{605B6D51-C3E1-405E-97E2-59B12C264325}" dt="2025-01-07T14:41:03.651" v="3490" actId="47"/>
        <pc:sldMkLst>
          <pc:docMk/>
          <pc:sldMk cId="2153542934" sldId="2603"/>
        </pc:sldMkLst>
      </pc:sldChg>
      <pc:sldChg chg="addSp delSp modSp new del mod ord modShow">
        <pc:chgData name="Gina Lovett" userId="65402821-6e13-4772-ab65-999452b1f86c" providerId="ADAL" clId="{605B6D51-C3E1-405E-97E2-59B12C264325}" dt="2025-01-07T14:44:37.993" v="3528" actId="47"/>
        <pc:sldMkLst>
          <pc:docMk/>
          <pc:sldMk cId="3538013191" sldId="2604"/>
        </pc:sldMkLst>
      </pc:sldChg>
      <pc:sldChg chg="new del mod ord modShow">
        <pc:chgData name="Gina Lovett" userId="65402821-6e13-4772-ab65-999452b1f86c" providerId="ADAL" clId="{605B6D51-C3E1-405E-97E2-59B12C264325}" dt="2025-01-07T14:41:04.268" v="3491" actId="47"/>
        <pc:sldMkLst>
          <pc:docMk/>
          <pc:sldMk cId="1340922640" sldId="2605"/>
        </pc:sldMkLst>
      </pc:sldChg>
      <pc:sldChg chg="addSp delSp modSp new mod modClrScheme chgLayout">
        <pc:chgData name="Gina Lovett" userId="65402821-6e13-4772-ab65-999452b1f86c" providerId="ADAL" clId="{605B6D51-C3E1-405E-97E2-59B12C264325}" dt="2025-01-06T16:57:40.005" v="998" actId="478"/>
        <pc:sldMkLst>
          <pc:docMk/>
          <pc:sldMk cId="1910145729" sldId="2606"/>
        </pc:sldMkLst>
        <pc:spChg chg="mod">
          <ac:chgData name="Gina Lovett" userId="65402821-6e13-4772-ab65-999452b1f86c" providerId="ADAL" clId="{605B6D51-C3E1-405E-97E2-59B12C264325}" dt="2025-01-06T16:57:14.058" v="913" actId="26606"/>
          <ac:spMkLst>
            <pc:docMk/>
            <pc:sldMk cId="1910145729" sldId="2606"/>
            <ac:spMk id="2" creationId="{E84F4546-DF0B-9929-AC59-7C90C9DAC58E}"/>
          </ac:spMkLst>
        </pc:spChg>
        <pc:spChg chg="add mod">
          <ac:chgData name="Gina Lovett" userId="65402821-6e13-4772-ab65-999452b1f86c" providerId="ADAL" clId="{605B6D51-C3E1-405E-97E2-59B12C264325}" dt="2025-01-06T16:57:14.058" v="913" actId="26606"/>
          <ac:spMkLst>
            <pc:docMk/>
            <pc:sldMk cId="1910145729" sldId="2606"/>
            <ac:spMk id="7" creationId="{E302C520-33DE-DAF2-FC85-F3F72D7D5EF5}"/>
          </ac:spMkLst>
        </pc:spChg>
        <pc:spChg chg="add mod">
          <ac:chgData name="Gina Lovett" userId="65402821-6e13-4772-ab65-999452b1f86c" providerId="ADAL" clId="{605B6D51-C3E1-405E-97E2-59B12C264325}" dt="2025-01-06T16:57:14.058" v="913" actId="26606"/>
          <ac:spMkLst>
            <pc:docMk/>
            <pc:sldMk cId="1910145729" sldId="2606"/>
            <ac:spMk id="9" creationId="{C0BC7F25-654B-D737-6758-CA67D63543F8}"/>
          </ac:spMkLst>
        </pc:spChg>
      </pc:sldChg>
      <pc:sldChg chg="addSp delSp modSp new del mod">
        <pc:chgData name="Gina Lovett" userId="65402821-6e13-4772-ab65-999452b1f86c" providerId="ADAL" clId="{605B6D51-C3E1-405E-97E2-59B12C264325}" dt="2025-01-06T17:13:52.973" v="1523" actId="47"/>
        <pc:sldMkLst>
          <pc:docMk/>
          <pc:sldMk cId="3553773051" sldId="2607"/>
        </pc:sldMkLst>
      </pc:sldChg>
      <pc:sldChg chg="modSp add mod ord">
        <pc:chgData name="Gina Lovett" userId="65402821-6e13-4772-ab65-999452b1f86c" providerId="ADAL" clId="{605B6D51-C3E1-405E-97E2-59B12C264325}" dt="2025-01-07T15:19:57.923" v="3566" actId="20577"/>
        <pc:sldMkLst>
          <pc:docMk/>
          <pc:sldMk cId="1523692114" sldId="2608"/>
        </pc:sldMkLst>
        <pc:spChg chg="mod">
          <ac:chgData name="Gina Lovett" userId="65402821-6e13-4772-ab65-999452b1f86c" providerId="ADAL" clId="{605B6D51-C3E1-405E-97E2-59B12C264325}" dt="2025-01-07T15:19:57.923" v="3566" actId="20577"/>
          <ac:spMkLst>
            <pc:docMk/>
            <pc:sldMk cId="1523692114" sldId="2608"/>
            <ac:spMk id="3" creationId="{88C47EFE-6B82-ABA9-A8DF-0FB28CC5B944}"/>
          </ac:spMkLst>
        </pc:spChg>
        <pc:spChg chg="mod">
          <ac:chgData name="Gina Lovett" userId="65402821-6e13-4772-ab65-999452b1f86c" providerId="ADAL" clId="{605B6D51-C3E1-405E-97E2-59B12C264325}" dt="2025-01-07T14:43:44.329" v="3516" actId="1038"/>
          <ac:spMkLst>
            <pc:docMk/>
            <pc:sldMk cId="1523692114" sldId="2608"/>
            <ac:spMk id="13" creationId="{8E3677FD-45FD-6D64-A42C-EA0EAE11209C}"/>
          </ac:spMkLst>
        </pc:spChg>
        <pc:picChg chg="mod">
          <ac:chgData name="Gina Lovett" userId="65402821-6e13-4772-ab65-999452b1f86c" providerId="ADAL" clId="{605B6D51-C3E1-405E-97E2-59B12C264325}" dt="2025-01-06T17:15:21.640" v="1549" actId="14100"/>
          <ac:picMkLst>
            <pc:docMk/>
            <pc:sldMk cId="1523692114" sldId="2608"/>
            <ac:picMk id="49" creationId="{28F61FD3-8B4E-6022-6AF1-BBF9D0C79B89}"/>
          </ac:picMkLst>
        </pc:picChg>
      </pc:sldChg>
      <pc:sldChg chg="addSp delSp modSp new mod modClrScheme chgLayout">
        <pc:chgData name="Gina Lovett" userId="65402821-6e13-4772-ab65-999452b1f86c" providerId="ADAL" clId="{605B6D51-C3E1-405E-97E2-59B12C264325}" dt="2025-01-07T14:36:20.023" v="3442" actId="20577"/>
        <pc:sldMkLst>
          <pc:docMk/>
          <pc:sldMk cId="143540237" sldId="2609"/>
        </pc:sldMkLst>
        <pc:spChg chg="mod ord modVis">
          <ac:chgData name="Gina Lovett" userId="65402821-6e13-4772-ab65-999452b1f86c" providerId="ADAL" clId="{605B6D51-C3E1-405E-97E2-59B12C264325}" dt="2025-01-06T17:14:28.709" v="1528" actId="26606"/>
          <ac:spMkLst>
            <pc:docMk/>
            <pc:sldMk cId="143540237" sldId="2609"/>
            <ac:spMk id="2" creationId="{CA9FF01D-F818-6FF1-6085-7DF6E79B39FF}"/>
          </ac:spMkLst>
        </pc:spChg>
        <pc:spChg chg="add mod">
          <ac:chgData name="Gina Lovett" userId="65402821-6e13-4772-ab65-999452b1f86c" providerId="ADAL" clId="{605B6D51-C3E1-405E-97E2-59B12C264325}" dt="2025-01-06T17:19:14.519" v="1683" actId="1036"/>
          <ac:spMkLst>
            <pc:docMk/>
            <pc:sldMk cId="143540237" sldId="2609"/>
            <ac:spMk id="6" creationId="{E17477BA-9F04-F18F-CD09-639922FBB797}"/>
          </ac:spMkLst>
        </pc:spChg>
        <pc:spChg chg="add mod">
          <ac:chgData name="Gina Lovett" userId="65402821-6e13-4772-ab65-999452b1f86c" providerId="ADAL" clId="{605B6D51-C3E1-405E-97E2-59B12C264325}" dt="2025-01-07T14:36:20.023" v="3442" actId="20577"/>
          <ac:spMkLst>
            <pc:docMk/>
            <pc:sldMk cId="143540237" sldId="2609"/>
            <ac:spMk id="9" creationId="{22F27554-58AF-6F63-7490-1DED9372035A}"/>
          </ac:spMkLst>
        </pc:spChg>
        <pc:picChg chg="add del mod">
          <ac:chgData name="Gina Lovett" userId="65402821-6e13-4772-ab65-999452b1f86c" providerId="ADAL" clId="{605B6D51-C3E1-405E-97E2-59B12C264325}" dt="2025-01-06T17:14:45.977" v="1532" actId="478"/>
          <ac:picMkLst>
            <pc:docMk/>
            <pc:sldMk cId="143540237" sldId="2609"/>
            <ac:picMk id="4" creationId="{65996920-8A76-E623-A887-6E08DBDAD1AA}"/>
          </ac:picMkLst>
        </pc:picChg>
      </pc:sldChg>
      <pc:sldChg chg="new del mod modShow modNotesTx">
        <pc:chgData name="Gina Lovett" userId="65402821-6e13-4772-ab65-999452b1f86c" providerId="ADAL" clId="{605B6D51-C3E1-405E-97E2-59B12C264325}" dt="2025-01-07T14:40:12.049" v="3484" actId="47"/>
        <pc:sldMkLst>
          <pc:docMk/>
          <pc:sldMk cId="3999565933" sldId="2610"/>
        </pc:sldMkLst>
      </pc:sldChg>
      <pc:sldChg chg="addSp delSp modSp new mod ord">
        <pc:chgData name="Gina Lovett" userId="65402821-6e13-4772-ab65-999452b1f86c" providerId="ADAL" clId="{605B6D51-C3E1-405E-97E2-59B12C264325}" dt="2025-01-07T15:17:05.917" v="3556" actId="6549"/>
        <pc:sldMkLst>
          <pc:docMk/>
          <pc:sldMk cId="606155663" sldId="2611"/>
        </pc:sldMkLst>
        <pc:spChg chg="del mod">
          <ac:chgData name="Gina Lovett" userId="65402821-6e13-4772-ab65-999452b1f86c" providerId="ADAL" clId="{605B6D51-C3E1-405E-97E2-59B12C264325}" dt="2025-01-07T14:19:49.451" v="3143" actId="478"/>
          <ac:spMkLst>
            <pc:docMk/>
            <pc:sldMk cId="606155663" sldId="2611"/>
            <ac:spMk id="3" creationId="{F6C06150-AC82-3DF8-FDF4-C0223E271C0F}"/>
          </ac:spMkLst>
        </pc:spChg>
        <pc:spChg chg="mod">
          <ac:chgData name="Gina Lovett" userId="65402821-6e13-4772-ab65-999452b1f86c" providerId="ADAL" clId="{605B6D51-C3E1-405E-97E2-59B12C264325}" dt="2025-01-07T14:42:34.171" v="3493" actId="2711"/>
          <ac:spMkLst>
            <pc:docMk/>
            <pc:sldMk cId="606155663" sldId="2611"/>
            <ac:spMk id="4" creationId="{5D4D9D8D-F694-2BD6-2426-6B5AEBCCB861}"/>
          </ac:spMkLst>
        </pc:spChg>
        <pc:spChg chg="del">
          <ac:chgData name="Gina Lovett" userId="65402821-6e13-4772-ab65-999452b1f86c" providerId="ADAL" clId="{605B6D51-C3E1-405E-97E2-59B12C264325}" dt="2025-01-07T14:21:17.637" v="3166"/>
          <ac:spMkLst>
            <pc:docMk/>
            <pc:sldMk cId="606155663" sldId="2611"/>
            <ac:spMk id="5" creationId="{47E0923A-EEBF-92F1-1087-044D5DCA7106}"/>
          </ac:spMkLst>
        </pc:spChg>
        <pc:spChg chg="mod">
          <ac:chgData name="Gina Lovett" userId="65402821-6e13-4772-ab65-999452b1f86c" providerId="ADAL" clId="{605B6D51-C3E1-405E-97E2-59B12C264325}" dt="2025-01-07T15:17:05.917" v="3556" actId="6549"/>
          <ac:spMkLst>
            <pc:docMk/>
            <pc:sldMk cId="606155663" sldId="2611"/>
            <ac:spMk id="6" creationId="{0A39C02D-7DC0-FF33-EC08-6B1027A64C9D}"/>
          </ac:spMkLst>
        </pc:spChg>
        <pc:spChg chg="mod">
          <ac:chgData name="Gina Lovett" userId="65402821-6e13-4772-ab65-999452b1f86c" providerId="ADAL" clId="{605B6D51-C3E1-405E-97E2-59B12C264325}" dt="2025-01-07T14:34:36.092" v="3423" actId="1037"/>
          <ac:spMkLst>
            <pc:docMk/>
            <pc:sldMk cId="606155663" sldId="2611"/>
            <ac:spMk id="7" creationId="{3A8390B6-24D6-6CF3-A869-6E8B1CFC2FA8}"/>
          </ac:spMkLst>
        </pc:spChg>
        <pc:spChg chg="del">
          <ac:chgData name="Gina Lovett" userId="65402821-6e13-4772-ab65-999452b1f86c" providerId="ADAL" clId="{605B6D51-C3E1-405E-97E2-59B12C264325}" dt="2025-01-07T14:26:33.321" v="3230"/>
          <ac:spMkLst>
            <pc:docMk/>
            <pc:sldMk cId="606155663" sldId="2611"/>
            <ac:spMk id="8" creationId="{07985694-1C8D-7DE6-26F5-2E0B9C71A64F}"/>
          </ac:spMkLst>
        </pc:spChg>
        <pc:spChg chg="mod">
          <ac:chgData name="Gina Lovett" userId="65402821-6e13-4772-ab65-999452b1f86c" providerId="ADAL" clId="{605B6D51-C3E1-405E-97E2-59B12C264325}" dt="2025-01-07T14:42:37.609" v="3494" actId="20577"/>
          <ac:spMkLst>
            <pc:docMk/>
            <pc:sldMk cId="606155663" sldId="2611"/>
            <ac:spMk id="9" creationId="{D0D3CD63-F484-4605-4EAD-BBA2A80F64C4}"/>
          </ac:spMkLst>
        </pc:spChg>
        <pc:spChg chg="mod">
          <ac:chgData name="Gina Lovett" userId="65402821-6e13-4772-ab65-999452b1f86c" providerId="ADAL" clId="{605B6D51-C3E1-405E-97E2-59B12C264325}" dt="2025-01-07T14:42:49.844" v="3495" actId="14100"/>
          <ac:spMkLst>
            <pc:docMk/>
            <pc:sldMk cId="606155663" sldId="2611"/>
            <ac:spMk id="10" creationId="{54A27090-D56E-537F-726C-B3B4E7753116}"/>
          </ac:spMkLst>
        </pc:spChg>
        <pc:spChg chg="mod">
          <ac:chgData name="Gina Lovett" userId="65402821-6e13-4772-ab65-999452b1f86c" providerId="ADAL" clId="{605B6D51-C3E1-405E-97E2-59B12C264325}" dt="2025-01-07T14:35:12.139" v="3436" actId="20577"/>
          <ac:spMkLst>
            <pc:docMk/>
            <pc:sldMk cId="606155663" sldId="2611"/>
            <ac:spMk id="11" creationId="{E443C325-8C5B-09F4-AD65-6BA6747B728C}"/>
          </ac:spMkLst>
        </pc:spChg>
        <pc:spChg chg="del">
          <ac:chgData name="Gina Lovett" userId="65402821-6e13-4772-ab65-999452b1f86c" providerId="ADAL" clId="{605B6D51-C3E1-405E-97E2-59B12C264325}" dt="2025-01-07T14:21:37.016" v="3171" actId="478"/>
          <ac:spMkLst>
            <pc:docMk/>
            <pc:sldMk cId="606155663" sldId="2611"/>
            <ac:spMk id="12" creationId="{97B33C99-3341-33BB-87C3-8653D90148FD}"/>
          </ac:spMkLst>
        </pc:spChg>
        <pc:spChg chg="add del mod">
          <ac:chgData name="Gina Lovett" userId="65402821-6e13-4772-ab65-999452b1f86c" providerId="ADAL" clId="{605B6D51-C3E1-405E-97E2-59B12C264325}" dt="2025-01-07T14:19:53.047" v="3144" actId="478"/>
          <ac:spMkLst>
            <pc:docMk/>
            <pc:sldMk cId="606155663" sldId="2611"/>
            <ac:spMk id="14" creationId="{33875302-A003-F97E-DF9E-8978768A0D58}"/>
          </ac:spMkLst>
        </pc:spChg>
        <pc:spChg chg="add mod">
          <ac:chgData name="Gina Lovett" userId="65402821-6e13-4772-ab65-999452b1f86c" providerId="ADAL" clId="{605B6D51-C3E1-405E-97E2-59B12C264325}" dt="2025-01-07T14:34:30.760" v="3416" actId="1036"/>
          <ac:spMkLst>
            <pc:docMk/>
            <pc:sldMk cId="606155663" sldId="2611"/>
            <ac:spMk id="15" creationId="{7569B640-7BB3-04A0-A004-F185349C8682}"/>
          </ac:spMkLst>
        </pc:spChg>
        <pc:spChg chg="add mod">
          <ac:chgData name="Gina Lovett" userId="65402821-6e13-4772-ab65-999452b1f86c" providerId="ADAL" clId="{605B6D51-C3E1-405E-97E2-59B12C264325}" dt="2025-01-07T14:34:18.257" v="3409" actId="1076"/>
          <ac:spMkLst>
            <pc:docMk/>
            <pc:sldMk cId="606155663" sldId="2611"/>
            <ac:spMk id="16" creationId="{A350EE11-38E3-AE96-BFB4-741836E75C00}"/>
          </ac:spMkLst>
        </pc:spChg>
        <pc:spChg chg="add mod">
          <ac:chgData name="Gina Lovett" userId="65402821-6e13-4772-ab65-999452b1f86c" providerId="ADAL" clId="{605B6D51-C3E1-405E-97E2-59B12C264325}" dt="2025-01-07T14:34:46.271" v="3425" actId="1076"/>
          <ac:spMkLst>
            <pc:docMk/>
            <pc:sldMk cId="606155663" sldId="2611"/>
            <ac:spMk id="17" creationId="{A29704CE-781F-060D-6816-F713B9F508C2}"/>
          </ac:spMkLst>
        </pc:spChg>
      </pc:sldChg>
      <pc:sldChg chg="addSp delSp modSp new mod">
        <pc:chgData name="Gina Lovett" userId="65402821-6e13-4772-ab65-999452b1f86c" providerId="ADAL" clId="{605B6D51-C3E1-405E-97E2-59B12C264325}" dt="2025-01-07T14:45:18.090" v="3531" actId="255"/>
        <pc:sldMkLst>
          <pc:docMk/>
          <pc:sldMk cId="4271563678" sldId="2612"/>
        </pc:sldMkLst>
        <pc:spChg chg="del">
          <ac:chgData name="Gina Lovett" userId="65402821-6e13-4772-ab65-999452b1f86c" providerId="ADAL" clId="{605B6D51-C3E1-405E-97E2-59B12C264325}" dt="2025-01-07T14:14:49.032" v="3015" actId="478"/>
          <ac:spMkLst>
            <pc:docMk/>
            <pc:sldMk cId="4271563678" sldId="2612"/>
            <ac:spMk id="2" creationId="{991543EE-722D-C1A6-C581-0C35C1194EB7}"/>
          </ac:spMkLst>
        </pc:spChg>
        <pc:spChg chg="mod">
          <ac:chgData name="Gina Lovett" userId="65402821-6e13-4772-ab65-999452b1f86c" providerId="ADAL" clId="{605B6D51-C3E1-405E-97E2-59B12C264325}" dt="2025-01-07T14:45:18.090" v="3531" actId="255"/>
          <ac:spMkLst>
            <pc:docMk/>
            <pc:sldMk cId="4271563678" sldId="2612"/>
            <ac:spMk id="3" creationId="{7600F802-DF7C-7A60-1ADD-BC0AE5B5E9AB}"/>
          </ac:spMkLst>
        </pc:spChg>
        <pc:spChg chg="mod">
          <ac:chgData name="Gina Lovett" userId="65402821-6e13-4772-ab65-999452b1f86c" providerId="ADAL" clId="{605B6D51-C3E1-405E-97E2-59B12C264325}" dt="2025-01-07T14:39:13.669" v="3481" actId="20577"/>
          <ac:spMkLst>
            <pc:docMk/>
            <pc:sldMk cId="4271563678" sldId="2612"/>
            <ac:spMk id="4" creationId="{73CAE3D6-612D-9913-6DB5-F80B199C6EF4}"/>
          </ac:spMkLst>
        </pc:spChg>
        <pc:spChg chg="add del">
          <ac:chgData name="Gina Lovett" userId="65402821-6e13-4772-ab65-999452b1f86c" providerId="ADAL" clId="{605B6D51-C3E1-405E-97E2-59B12C264325}" dt="2025-01-07T14:11:38.647" v="2848" actId="478"/>
          <ac:spMkLst>
            <pc:docMk/>
            <pc:sldMk cId="4271563678" sldId="2612"/>
            <ac:spMk id="5" creationId="{C69A0C8D-88F0-2EAD-BC9A-CAB47C41D7BC}"/>
          </ac:spMkLst>
        </pc:spChg>
        <pc:spChg chg="add mod">
          <ac:chgData name="Gina Lovett" userId="65402821-6e13-4772-ab65-999452b1f86c" providerId="ADAL" clId="{605B6D51-C3E1-405E-97E2-59B12C264325}" dt="2025-01-07T14:00:52.868" v="2841" actId="14100"/>
          <ac:spMkLst>
            <pc:docMk/>
            <pc:sldMk cId="4271563678" sldId="2612"/>
            <ac:spMk id="11" creationId="{318BA668-0F1A-0C3E-72C0-6312313CB050}"/>
          </ac:spMkLst>
        </pc:spChg>
        <pc:spChg chg="add del mod">
          <ac:chgData name="Gina Lovett" userId="65402821-6e13-4772-ab65-999452b1f86c" providerId="ADAL" clId="{605B6D51-C3E1-405E-97E2-59B12C264325}" dt="2025-01-07T14:00:50.622" v="2838" actId="478"/>
          <ac:spMkLst>
            <pc:docMk/>
            <pc:sldMk cId="4271563678" sldId="2612"/>
            <ac:spMk id="13" creationId="{E5D11104-4C2B-FE9B-097D-6623DA7DEDBA}"/>
          </ac:spMkLst>
        </pc:spChg>
        <pc:graphicFrameChg chg="add del">
          <ac:chgData name="Gina Lovett" userId="65402821-6e13-4772-ab65-999452b1f86c" providerId="ADAL" clId="{605B6D51-C3E1-405E-97E2-59B12C264325}" dt="2025-01-07T13:55:05.220" v="2813"/>
          <ac:graphicFrameMkLst>
            <pc:docMk/>
            <pc:sldMk cId="4271563678" sldId="2612"/>
            <ac:graphicFrameMk id="8" creationId="{BAB7F5DD-EF9C-C7D2-C0B1-289CA82475DC}"/>
          </ac:graphicFrameMkLst>
        </pc:graphicFrameChg>
        <pc:graphicFrameChg chg="add del mod ord modGraphic">
          <ac:chgData name="Gina Lovett" userId="65402821-6e13-4772-ab65-999452b1f86c" providerId="ADAL" clId="{605B6D51-C3E1-405E-97E2-59B12C264325}" dt="2025-01-07T13:55:17.263" v="2815" actId="3680"/>
          <ac:graphicFrameMkLst>
            <pc:docMk/>
            <pc:sldMk cId="4271563678" sldId="2612"/>
            <ac:graphicFrameMk id="9" creationId="{243A09F6-3ECA-5015-A475-B221FD72EF0C}"/>
          </ac:graphicFrameMkLst>
        </pc:graphicFrameChg>
        <pc:graphicFrameChg chg="add del mod">
          <ac:chgData name="Gina Lovett" userId="65402821-6e13-4772-ab65-999452b1f86c" providerId="ADAL" clId="{605B6D51-C3E1-405E-97E2-59B12C264325}" dt="2025-01-07T14:00:53.687" v="2842"/>
          <ac:graphicFrameMkLst>
            <pc:docMk/>
            <pc:sldMk cId="4271563678" sldId="2612"/>
            <ac:graphicFrameMk id="10" creationId="{FBE3C3F0-4D71-B259-A41C-503018505F61}"/>
          </ac:graphicFrameMkLst>
        </pc:graphicFrameChg>
        <pc:graphicFrameChg chg="add mod">
          <ac:chgData name="Gina Lovett" userId="65402821-6e13-4772-ab65-999452b1f86c" providerId="ADAL" clId="{605B6D51-C3E1-405E-97E2-59B12C264325}" dt="2025-01-07T13:57:33.796" v="2827" actId="1957"/>
          <ac:graphicFrameMkLst>
            <pc:docMk/>
            <pc:sldMk cId="4271563678" sldId="2612"/>
            <ac:graphicFrameMk id="17" creationId="{6CA897A2-4FFD-2EF9-4CBF-E9D65E07153E}"/>
          </ac:graphicFrameMkLst>
        </pc:graphicFrameChg>
        <pc:graphicFrameChg chg="add del">
          <ac:chgData name="Gina Lovett" userId="65402821-6e13-4772-ab65-999452b1f86c" providerId="ADAL" clId="{605B6D51-C3E1-405E-97E2-59B12C264325}" dt="2025-01-07T13:58:17.289" v="2829"/>
          <ac:graphicFrameMkLst>
            <pc:docMk/>
            <pc:sldMk cId="4271563678" sldId="2612"/>
            <ac:graphicFrameMk id="22" creationId="{0A6481F7-B116-B90B-546B-324F412AF71F}"/>
          </ac:graphicFrameMkLst>
        </pc:graphicFrameChg>
        <pc:graphicFrameChg chg="add del mod">
          <ac:chgData name="Gina Lovett" userId="65402821-6e13-4772-ab65-999452b1f86c" providerId="ADAL" clId="{605B6D51-C3E1-405E-97E2-59B12C264325}" dt="2025-01-07T14:00:49.962" v="2837"/>
          <ac:graphicFrameMkLst>
            <pc:docMk/>
            <pc:sldMk cId="4271563678" sldId="2612"/>
            <ac:graphicFrameMk id="25" creationId="{5A22B4B4-357E-4816-A28E-12113675934D}"/>
          </ac:graphicFrameMkLst>
        </pc:graphicFrameChg>
        <pc:graphicFrameChg chg="add mod">
          <ac:chgData name="Gina Lovett" userId="65402821-6e13-4772-ab65-999452b1f86c" providerId="ADAL" clId="{605B6D51-C3E1-405E-97E2-59B12C264325}" dt="2025-01-07T14:24:20.554" v="3194" actId="20577"/>
          <ac:graphicFrameMkLst>
            <pc:docMk/>
            <pc:sldMk cId="4271563678" sldId="2612"/>
            <ac:graphicFrameMk id="29" creationId="{A4468E2F-1B9C-D795-A3C2-2E3732A0C3CF}"/>
          </ac:graphicFrameMkLst>
        </pc:graphicFrameChg>
      </pc:sldChg>
      <pc:sldChg chg="delSp modSp add del mod">
        <pc:chgData name="Gina Lovett" userId="65402821-6e13-4772-ab65-999452b1f86c" providerId="ADAL" clId="{605B6D51-C3E1-405E-97E2-59B12C264325}" dt="2025-01-07T14:44:14.111" v="3522" actId="47"/>
        <pc:sldMkLst>
          <pc:docMk/>
          <pc:sldMk cId="1378180237" sldId="2613"/>
        </pc:sldMkLst>
        <pc:spChg chg="del mod">
          <ac:chgData name="Gina Lovett" userId="65402821-6e13-4772-ab65-999452b1f86c" providerId="ADAL" clId="{605B6D51-C3E1-405E-97E2-59B12C264325}" dt="2025-01-07T14:44:03.593" v="3521" actId="478"/>
          <ac:spMkLst>
            <pc:docMk/>
            <pc:sldMk cId="1378180237" sldId="2613"/>
            <ac:spMk id="13" creationId="{ECD73D64-677F-3973-5805-7D90BF51B01F}"/>
          </ac:spMkLst>
        </pc:spChg>
      </pc:sldChg>
      <pc:sldChg chg="modSp add mod">
        <pc:chgData name="Gina Lovett" userId="65402821-6e13-4772-ab65-999452b1f86c" providerId="ADAL" clId="{605B6D51-C3E1-405E-97E2-59B12C264325}" dt="2025-01-07T15:16:55.375" v="3555" actId="20577"/>
        <pc:sldMkLst>
          <pc:docMk/>
          <pc:sldMk cId="2685185663" sldId="2613"/>
        </pc:sldMkLst>
        <pc:spChg chg="mod">
          <ac:chgData name="Gina Lovett" userId="65402821-6e13-4772-ab65-999452b1f86c" providerId="ADAL" clId="{605B6D51-C3E1-405E-97E2-59B12C264325}" dt="2025-01-07T15:16:55.375" v="3555" actId="20577"/>
          <ac:spMkLst>
            <pc:docMk/>
            <pc:sldMk cId="2685185663" sldId="2613"/>
            <ac:spMk id="3" creationId="{9E4B4658-91F5-AC53-A135-31861F70C72B}"/>
          </ac:spMkLst>
        </pc:spChg>
      </pc:sldChg>
      <pc:sldMasterChg chg="delSldLayout">
        <pc:chgData name="Gina Lovett" userId="65402821-6e13-4772-ab65-999452b1f86c" providerId="ADAL" clId="{605B6D51-C3E1-405E-97E2-59B12C264325}" dt="2025-01-07T14:44:37.127" v="3527" actId="47"/>
        <pc:sldMasterMkLst>
          <pc:docMk/>
          <pc:sldMasterMk cId="0" sldId="2147483660"/>
        </pc:sldMasterMkLst>
        <pc:sldLayoutChg chg="del">
          <pc:chgData name="Gina Lovett" userId="65402821-6e13-4772-ab65-999452b1f86c" providerId="ADAL" clId="{605B6D51-C3E1-405E-97E2-59B12C264325}" dt="2025-01-07T14:44:37.127" v="3527" actId="47"/>
          <pc:sldLayoutMkLst>
            <pc:docMk/>
            <pc:sldMasterMk cId="0" sldId="2147483660"/>
            <pc:sldLayoutMk cId="1178078342" sldId="2147483746"/>
          </pc:sldLayoutMkLst>
        </pc:sldLayoutChg>
        <pc:sldLayoutChg chg="del">
          <pc:chgData name="Gina Lovett" userId="65402821-6e13-4772-ab65-999452b1f86c" providerId="ADAL" clId="{605B6D51-C3E1-405E-97E2-59B12C264325}" dt="2025-01-06T16:31:11.791" v="578" actId="47"/>
          <pc:sldLayoutMkLst>
            <pc:docMk/>
            <pc:sldMasterMk cId="0" sldId="2147483660"/>
            <pc:sldLayoutMk cId="440934304" sldId="2147483747"/>
          </pc:sldLayoutMkLst>
        </pc:sldLayoutChg>
        <pc:sldLayoutChg chg="del">
          <pc:chgData name="Gina Lovett" userId="65402821-6e13-4772-ab65-999452b1f86c" providerId="ADAL" clId="{605B6D51-C3E1-405E-97E2-59B12C264325}" dt="2025-01-07T14:40:15.363" v="3485" actId="47"/>
          <pc:sldLayoutMkLst>
            <pc:docMk/>
            <pc:sldMasterMk cId="0" sldId="2147483660"/>
            <pc:sldLayoutMk cId="541781738" sldId="2147483748"/>
          </pc:sldLayoutMkLst>
        </pc:sldLayoutChg>
        <pc:sldLayoutChg chg="del">
          <pc:chgData name="Gina Lovett" userId="65402821-6e13-4772-ab65-999452b1f86c" providerId="ADAL" clId="{605B6D51-C3E1-405E-97E2-59B12C264325}" dt="2025-01-06T16:42:01.844" v="805" actId="47"/>
          <pc:sldLayoutMkLst>
            <pc:docMk/>
            <pc:sldMasterMk cId="0" sldId="2147483660"/>
            <pc:sldLayoutMk cId="1001897091" sldId="214748374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(Full and part-time staff)</a:t>
            </a:r>
          </a:p>
        </c:rich>
      </c:tx>
      <c:layout>
        <c:manualLayout>
          <c:xMode val="edge"/>
          <c:yMode val="edge"/>
          <c:x val="1.0464956241192574E-2"/>
          <c:y val="6.3827828118212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>
        <c:manualLayout>
          <c:layoutTarget val="inner"/>
          <c:xMode val="edge"/>
          <c:yMode val="edge"/>
          <c:x val="2.006267987687553E-2"/>
          <c:y val="2.7140766808154599E-2"/>
          <c:w val="0.9188996528132547"/>
          <c:h val="0.796637050083014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Total Staff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515301A-A4DB-4362-B115-D5F09482ACBF}" type="VALUE">
                      <a:rPr lang="en-US" smtClean="0"/>
                      <a:pPr/>
                      <a:t>[VALUE]</a:t>
                    </a:fld>
                    <a:r>
                      <a:rPr lang="en-US"/>
                      <a:t>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77E-4726-8602-E9617BA100D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,63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77E-4726-8602-E9617BA100D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1,48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77E-4726-8602-E9617BA100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15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Sheet1!$B$5:$B$15</c:f>
              <c:numCache>
                <c:formatCode>General</c:formatCode>
                <c:ptCount val="11"/>
                <c:pt idx="0">
                  <c:v>1.18</c:v>
                </c:pt>
                <c:pt idx="1">
                  <c:v>1.325</c:v>
                </c:pt>
                <c:pt idx="2">
                  <c:v>1.363</c:v>
                </c:pt>
                <c:pt idx="3">
                  <c:v>1.486</c:v>
                </c:pt>
                <c:pt idx="4">
                  <c:v>1.389</c:v>
                </c:pt>
                <c:pt idx="5">
                  <c:v>1.466</c:v>
                </c:pt>
                <c:pt idx="6">
                  <c:v>1.651</c:v>
                </c:pt>
                <c:pt idx="7">
                  <c:v>1.63</c:v>
                </c:pt>
                <c:pt idx="8">
                  <c:v>1.4950000000000001</c:v>
                </c:pt>
                <c:pt idx="9">
                  <c:v>1.508</c:v>
                </c:pt>
                <c:pt idx="10">
                  <c:v>1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7E-4726-8602-E9617BA100D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03365728"/>
        <c:axId val="1003367168"/>
      </c:barChart>
      <c:catAx>
        <c:axId val="100336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003367168"/>
        <c:crosses val="autoZero"/>
        <c:auto val="1"/>
        <c:lblAlgn val="ctr"/>
        <c:lblOffset val="100"/>
        <c:noMultiLvlLbl val="0"/>
      </c:catAx>
      <c:valAx>
        <c:axId val="10033671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03365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6872E4-FD26-433E-AA82-EBAB91A992E1}" type="datetimeFigureOut">
              <a:t>08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36B4AD-74D5-4B4D-A81D-5787E0A77712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014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6B4AD-74D5-4B4D-A81D-5787E0A77712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0497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6B4AD-74D5-4B4D-A81D-5787E0A77712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78513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Purple Cente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13"/>
          <p:cNvSpPr>
            <a:spLocks noGrp="1"/>
          </p:cNvSpPr>
          <p:nvPr>
            <p:ph type="dt" sz="half" idx="2"/>
          </p:nvPr>
        </p:nvSpPr>
        <p:spPr>
          <a:xfrm>
            <a:off x="5227177" y="5787070"/>
            <a:ext cx="1666875" cy="254000"/>
          </a:xfrm>
          <a:prstGeom prst="rect">
            <a:avLst/>
          </a:prstGeom>
        </p:spPr>
        <p:txBody>
          <a:bodyPr vert="horz" lIns="130622" tIns="65311" rIns="130622" bIns="65311"/>
          <a:lstStyle>
            <a:lvl1pPr marL="0" algn="ctr" defTabSz="1088473" rtl="0" eaLnBrk="1" latinLnBrk="0" hangingPunct="1">
              <a:defRPr kumimoji="0" lang="en-US" sz="833" b="0" i="0" kern="1200" spc="-42" baseline="0" smtClean="0">
                <a:solidFill>
                  <a:schemeClr val="bg2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fld id="{24ACD9A6-C2A4-9048-B627-1D8831AABF9B}" type="datetime3">
              <a:rPr lang="en-US" smtClean="0"/>
              <a:pPr/>
              <a:t>8 January 2025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42958" y="6117167"/>
            <a:ext cx="2032000" cy="254000"/>
          </a:xfrm>
          <a:prstGeom prst="rect">
            <a:avLst/>
          </a:prstGeom>
        </p:spPr>
        <p:txBody>
          <a:bodyPr vert="horz" lIns="130622" tIns="65311" rIns="130622" bIns="65311"/>
          <a:lstStyle>
            <a:lvl1pPr algn="ctr" eaLnBrk="1" latinLnBrk="0" hangingPunct="1">
              <a:defRPr kumimoji="0" sz="833" b="0" i="1" spc="-42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r>
              <a:rPr lang="en-US"/>
              <a:t>Confidential: for internal use only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0B6FBD14-E157-3BB6-3367-4E10E8DDE8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7984" y="1715312"/>
            <a:ext cx="10076033" cy="231779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6666" b="1" i="0" spc="-42" baseline="0">
                <a:solidFill>
                  <a:schemeClr val="bg2"/>
                </a:solidFill>
                <a:latin typeface="Arial"/>
                <a:cs typeface="Arial"/>
              </a:defRPr>
            </a:lvl1pPr>
            <a:lvl2pPr>
              <a:buNone/>
              <a:defRPr sz="3583">
                <a:solidFill>
                  <a:schemeClr val="tx1"/>
                </a:solidFill>
              </a:defRPr>
            </a:lvl2pPr>
            <a:lvl3pPr>
              <a:buNone/>
              <a:defRPr sz="3583">
                <a:solidFill>
                  <a:schemeClr val="tx1"/>
                </a:solidFill>
              </a:defRPr>
            </a:lvl3pPr>
            <a:lvl4pPr>
              <a:buNone/>
              <a:defRPr sz="3583">
                <a:solidFill>
                  <a:schemeClr val="tx1"/>
                </a:solidFill>
              </a:defRPr>
            </a:lvl4pPr>
            <a:lvl5pPr>
              <a:buNone/>
              <a:defRPr sz="358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ation Title Her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480AD3C-BC1B-E41D-3E43-DE488FE3AD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1194" y="4287864"/>
            <a:ext cx="10089613" cy="79025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buNone/>
              <a:defRPr sz="2333" b="0" i="1" spc="-42" baseline="0">
                <a:solidFill>
                  <a:schemeClr val="accent4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grpSp>
        <p:nvGrpSpPr>
          <p:cNvPr id="4" name="Graphic 2">
            <a:extLst>
              <a:ext uri="{FF2B5EF4-FFF2-40B4-BE49-F238E27FC236}">
                <a16:creationId xmlns:a16="http://schemas.microsoft.com/office/drawing/2014/main" id="{68C91FA0-691C-FF88-48D4-E3760CD43A1C}"/>
              </a:ext>
            </a:extLst>
          </p:cNvPr>
          <p:cNvGrpSpPr>
            <a:grpSpLocks noChangeAspect="1"/>
          </p:cNvGrpSpPr>
          <p:nvPr/>
        </p:nvGrpSpPr>
        <p:grpSpPr>
          <a:xfrm>
            <a:off x="4886890" y="644410"/>
            <a:ext cx="2418220" cy="3429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7F0D7F6-94A6-87E4-2877-C32C127FB783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F346065-970F-01DB-E7D8-129F1F614F30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13D3BC6-08DE-EB27-66D1-2B32F1E547D8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D1E1744-269D-1C06-5D4C-9B79E3AD982A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B2B1E2E-29C2-BF5C-DDAF-C98DE7643C47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FC777F3-59EF-3521-7886-4F6150498C4B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7515387-BF18-5757-29A1-7BBE236ABE09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616E10EA-1F3A-99E7-1245-8772D2F20733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4458640-A73C-9FE3-5239-977A3F00FC50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BC5E5D0-AF2B-6D14-EE18-18A110501C50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9CDA869-5847-FA8F-84A2-C3602B0DF26F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77C830A7-695B-7A7B-0FB1-C139292E098C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9C0F2D8-58C9-ADC5-6E5B-35D33A36FFEB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2629702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/with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B62ADD-FBA3-5BD8-61AC-B2BB9CB9E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/>
              <a:t>Click icon to add image 16” x 9”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419424"/>
            <a:ext cx="11239500" cy="593562"/>
          </a:xfrm>
          <a:prstGeom prst="rect">
            <a:avLst/>
          </a:prstGeom>
          <a:noFill/>
        </p:spPr>
        <p:txBody>
          <a:bodyPr vert="horz" lIns="130622" tIns="65311" rIns="130622" bIns="65311">
            <a:sp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3000" b="0" i="0" kern="1200" spc="-125" baseline="0" dirty="0" smtClean="0">
                <a:solidFill>
                  <a:schemeClr val="bg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mall Header Her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76249" y="1346197"/>
            <a:ext cx="5082603" cy="4525385"/>
          </a:xfrm>
          <a:prstGeom prst="rect">
            <a:avLst/>
          </a:prstGeom>
          <a:noFill/>
        </p:spPr>
        <p:txBody>
          <a:bodyPr vert="horz" lIns="130622" tIns="65311" rIns="130622" bIns="65311" anchor="ctr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7333" b="1" i="0" kern="1200" spc="-83" baseline="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ection Divider </a:t>
            </a:r>
            <a:br>
              <a:rPr lang="en-US"/>
            </a:br>
            <a:r>
              <a:rPr lang="en-US"/>
              <a:t>with Image</a:t>
            </a:r>
          </a:p>
        </p:txBody>
      </p:sp>
      <p:sp>
        <p:nvSpPr>
          <p:cNvPr id="16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bg1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7B6E65CF-A238-DFD2-9D4D-09B594B7E6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1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F6011FA-E054-CEE5-D629-4C4EBDA508E3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1507C65-89E9-B4F1-2F50-8931A5E4ACC9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AE7951-0F81-D0C5-B740-E4CF6CFC0F97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55FFD90-75B5-8D8B-C35B-007F9349AC14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4604BB-07F0-BB31-1D57-DF2092F40059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149E050-D138-5D9B-52DC-B9416D67B462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762A984-3D02-C1D8-94E3-D72EF1885019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7AA2F6-A825-E210-78FB-5A13C1069419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437563E-5C91-B383-EB3D-803AE21993AE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4B270E5-DD13-1B5E-ECB9-12149B64A1F3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6BCED3D-4567-0D84-755F-9936B3AA2CD5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493929BB-270B-AAB0-A2C4-CBA1F6626487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51D5152C-55F6-E46E-22EF-7A840C2F8D81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67502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0" y="1501589"/>
            <a:ext cx="11239500" cy="65608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667" b="0" i="0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mall Header Goes He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2193667"/>
            <a:ext cx="11239500" cy="3659879"/>
          </a:xfrm>
          <a:prstGeom prst="rect">
            <a:avLst/>
          </a:prstGeom>
        </p:spPr>
        <p:txBody>
          <a:bodyPr numCol="2" spcCol="274320">
            <a:normAutofit/>
          </a:bodyPr>
          <a:lstStyle>
            <a:lvl1pPr marL="167633" indent="-167633" algn="l">
              <a:spcAft>
                <a:spcPts val="1167"/>
              </a:spcAft>
              <a:buClrTx/>
              <a:buFont typeface="System Font Regular"/>
              <a:buChar char="‣"/>
              <a:defRPr sz="1750" b="0" i="0" spc="-42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Bullet point goes here</a:t>
            </a:r>
          </a:p>
          <a:p>
            <a:pPr lvl="0"/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F5A0249-DF93-F3AA-D46D-1CCA96CE93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32442861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1510921"/>
            <a:ext cx="11239500" cy="4341663"/>
          </a:xfrm>
          <a:prstGeom prst="rect">
            <a:avLst/>
          </a:prstGeom>
        </p:spPr>
        <p:txBody>
          <a:bodyPr anchor="t">
            <a:normAutofit/>
          </a:bodyPr>
          <a:lstStyle>
            <a:lvl1pPr marL="638149" indent="-638149" algn="l">
              <a:spcAft>
                <a:spcPts val="667"/>
              </a:spcAft>
              <a:buFont typeface=".Lucida Grande UI Regular"/>
              <a:buChar char="►"/>
              <a:defRPr sz="4500" b="1" i="0" spc="-83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Big bullet point goes her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94A37416-3411-CBD4-B054-0E9A7AFF62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DC1C180-7B94-E015-4FD2-63A9F05F39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sz="3000" b="1" i="0" spc="-125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107028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1EB175-D4C9-9292-F100-B8489362FA32}"/>
              </a:ext>
            </a:extLst>
          </p:cNvPr>
          <p:cNvSpPr/>
          <p:nvPr userDrawn="1"/>
        </p:nvSpPr>
        <p:spPr>
          <a:xfrm>
            <a:off x="0" y="1635220"/>
            <a:ext cx="12192000" cy="522278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E9EC94-FF7D-5933-11FB-4B2CE5734A05}"/>
              </a:ext>
            </a:extLst>
          </p:cNvPr>
          <p:cNvSpPr/>
          <p:nvPr userDrawn="1"/>
        </p:nvSpPr>
        <p:spPr>
          <a:xfrm>
            <a:off x="0" y="0"/>
            <a:ext cx="12192000" cy="16459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solidFill>
                  <a:schemeClr val="bg2"/>
                </a:solidFill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0" y="1789282"/>
            <a:ext cx="5406390" cy="656083"/>
          </a:xfrm>
          <a:prstGeom prst="rect">
            <a:avLst/>
          </a:prstGeom>
        </p:spPr>
        <p:txBody>
          <a:bodyPr bIns="0" anchor="b">
            <a:noAutofit/>
          </a:bodyPr>
          <a:lstStyle>
            <a:lvl1pPr marL="0" indent="0" algn="l">
              <a:buNone/>
              <a:defRPr sz="2667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2481360"/>
            <a:ext cx="5406390" cy="3372187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F5A0249-DF93-F3AA-D46D-1CCA96CE93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A5D2D40-9A08-7781-B8C4-A2FDA5C1FE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3170" y="1789282"/>
            <a:ext cx="5406390" cy="656083"/>
          </a:xfrm>
          <a:prstGeom prst="rect">
            <a:avLst/>
          </a:prstGeom>
        </p:spPr>
        <p:txBody>
          <a:bodyPr bIns="0" anchor="b">
            <a:noAutofit/>
          </a:bodyPr>
          <a:lstStyle>
            <a:lvl1pPr marL="0" indent="0" algn="l">
              <a:buNone/>
              <a:defRPr sz="2667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EB8EBE43-D0E1-C12C-AF8A-0522E7065A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3170" y="2481359"/>
            <a:ext cx="5406390" cy="337218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grpSp>
        <p:nvGrpSpPr>
          <p:cNvPr id="27" name="Graphic 2">
            <a:extLst>
              <a:ext uri="{FF2B5EF4-FFF2-40B4-BE49-F238E27FC236}">
                <a16:creationId xmlns:a16="http://schemas.microsoft.com/office/drawing/2014/main" id="{F1F1DC13-482D-FB7E-C4A9-E3551358BEB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accent4"/>
          </a:solidFill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CF26565-5196-4074-8EE4-C8A2391BDF1A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3B52DA9D-C5FE-0FDD-8E89-0DC96484007F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ECCCC73-7F0B-DAFC-C7D5-343558217C9C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3D6773AE-5AA1-18E0-03A9-AF300711D47A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AE41958-A49A-CE8A-37A1-196BC0A20C20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2089EB6-7022-C837-CF44-10F38E3C41C4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177209C0-D788-80DB-BCF3-E627AB95C2EA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67B2324-405F-4944-3827-5D4D34C987BD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B3C9DE87-628F-E794-9BFF-A42B1C83552A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AF76091-C0D6-6D3F-6795-040FBDC2DE5B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7DEF716B-88F7-612B-1140-8EA4579F1531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A897566E-8AC2-D72F-C70B-AF9A2F2E00DE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371EBCA0-34F2-C48C-EA8D-DECC9738635F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9844941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E9EC94-FF7D-5933-11FB-4B2CE5734A05}"/>
              </a:ext>
            </a:extLst>
          </p:cNvPr>
          <p:cNvSpPr/>
          <p:nvPr userDrawn="1"/>
        </p:nvSpPr>
        <p:spPr>
          <a:xfrm>
            <a:off x="0" y="0"/>
            <a:ext cx="12192000" cy="1645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F5A0249-DF93-F3AA-D46D-1CCA96CE93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7C0083C-DD1D-3CD5-0F2E-D03AC9BA47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6250" y="1672570"/>
            <a:ext cx="5406390" cy="504882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2000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373B8CD-B4CF-F1CD-C602-AEBBBA022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2213448"/>
            <a:ext cx="5406390" cy="15032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z="1500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095E5C7-9B19-25A6-07BC-1D00E2462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3170" y="1672570"/>
            <a:ext cx="5406390" cy="504882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2000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496EAFC-10E3-CB55-04E5-DAED95AABB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3170" y="2213447"/>
            <a:ext cx="5406390" cy="15032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z="1500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6375D39E-8127-E2C9-3A0F-591C18B9A0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250" y="3849712"/>
            <a:ext cx="5406390" cy="504882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2000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7A34B4E-B592-20D0-9F75-7ACAA89B63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6250" y="4390590"/>
            <a:ext cx="5406390" cy="15032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z="1500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178869-6028-FD1F-DED3-BEE2AD49C7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13170" y="3849712"/>
            <a:ext cx="5406390" cy="504882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2000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7CA1768-6277-62F4-3E87-537EF8801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13170" y="4390589"/>
            <a:ext cx="5406390" cy="150324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z="1500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286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3EA6E4CA-B5FF-11AC-99EB-03CA92A657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defRPr sz="5000" b="1" i="0" spc="-125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714346" lvl="0" indent="-714346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6B93DD4-2884-C19D-8909-A31F640F93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561676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212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95F8B17-0B1D-10FD-6546-683B06E180B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6096001" y="1"/>
            <a:ext cx="6095999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 6.5"x6.5"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80F2959C-F985-9585-2FB2-C950FDD971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531495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4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D3AC053-9D83-6888-763E-DDCB564267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6250" y="1501589"/>
            <a:ext cx="5314950" cy="65608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333" b="0" i="0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mall Header Goes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EABD038-16A3-DDDF-39E5-E40E7E5C37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2193667"/>
            <a:ext cx="5314950" cy="3659879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9FFEA58-2783-F4AD-3F85-8A8C436785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531495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grpSp>
        <p:nvGrpSpPr>
          <p:cNvPr id="24" name="Graphic 2">
            <a:extLst>
              <a:ext uri="{FF2B5EF4-FFF2-40B4-BE49-F238E27FC236}">
                <a16:creationId xmlns:a16="http://schemas.microsoft.com/office/drawing/2014/main" id="{D4F11C8F-66FF-47A7-001D-B456C44B36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tx1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695642B-F8A0-4A46-BA7B-5C9A8EB6C722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EF2693E-EF39-4BBC-9B94-4EFC8E7AF435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8C9A31A-7E35-FC40-C0CF-CCB050818BC5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B87BCFD-7CDE-0411-1313-AECE2B496210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146224F-7707-A1A9-2B1F-56D88FF09AE4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4214B02-6A87-D063-2044-3EC6ABAAE0B5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8F949640-200B-B853-6DB6-6E39EC8B0C2C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330ACE4-55D9-21FC-CCEF-26CCAAF4B99F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320A92E-3BF8-D5E9-ED8B-F058A5DBCD3C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2A0F983B-6292-6532-C7A1-89A7B3E06447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5A14D37-1ED1-E7EB-CC44-511CD07D0FDB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17DBB8AB-B888-3D9E-023D-7E1113FEA366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CE102AE4-0DD6-33BC-69F3-F7EE60866313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007967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1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6570133" y="644928"/>
            <a:ext cx="5145616" cy="51288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 6.5"x6.5"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1484271"/>
            <a:ext cx="5314949" cy="4289476"/>
          </a:xfrm>
          <a:prstGeom prst="rect">
            <a:avLst/>
          </a:prstGeom>
          <a:noFill/>
        </p:spPr>
        <p:txBody>
          <a:bodyPr vert="horz" lIns="130622" tIns="65311" rIns="130622" bIns="65311" anchor="ctr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6000" b="1" i="0" kern="1200" spc="-125" baseline="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Big Header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02751A0-BE0D-65F8-D5D8-D70553C5E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531495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3000" b="1" spc="-125" baseline="0" dirty="0">
                <a:solidFill>
                  <a:schemeClr val="bg2"/>
                </a:solidFill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CC1C5EB-5917-A1DD-87E1-5922B60683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531495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grpSp>
        <p:nvGrpSpPr>
          <p:cNvPr id="4" name="Graphic 2">
            <a:extLst>
              <a:ext uri="{FF2B5EF4-FFF2-40B4-BE49-F238E27FC236}">
                <a16:creationId xmlns:a16="http://schemas.microsoft.com/office/drawing/2014/main" id="{F492CA3F-E463-4C17-4E46-28CD944834D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DA7EFDA-5433-A2E5-8E81-8B00CBBDA13D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BD88A09-929B-2823-8252-83EF68DE1DC8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0035231-2099-BFEB-D6E8-32ED0624E70B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922329B-9F23-7B17-7B28-6D94BCA4B050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07F8A95B-0078-3FE6-4689-546F8D79B238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34A86F53-6327-CC8C-E24D-FB9C69F82C21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2792506-C133-B2B6-09E5-086603CCED87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C4854A3C-7C3C-9DD3-33B2-4159B5A4E362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DAD4ACF4-96BE-8BF7-BF85-B4F5A119F5A1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5BC9061-E8AF-1B5A-FCD6-B45FA35BDC8F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B03939C-A7E0-79F0-7788-6AD10E24AA1F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1F755FB-5CEF-4D7E-12A6-CEC5BD997FD8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3C5A820-980F-4843-7325-82C655C83767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040331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7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video. Drag sizing handles to fit.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Black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C3B0409F-55D5-D9F0-0764-2D9F02A22847}"/>
              </a:ext>
            </a:extLst>
          </p:cNvPr>
          <p:cNvSpPr/>
          <p:nvPr userDrawn="1"/>
        </p:nvSpPr>
        <p:spPr>
          <a:xfrm>
            <a:off x="0" y="0"/>
            <a:ext cx="12192000" cy="4171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13"/>
          <p:cNvSpPr>
            <a:spLocks noGrp="1"/>
          </p:cNvSpPr>
          <p:nvPr>
            <p:ph type="dt" sz="half" idx="2"/>
          </p:nvPr>
        </p:nvSpPr>
        <p:spPr>
          <a:xfrm>
            <a:off x="5227177" y="5787070"/>
            <a:ext cx="1666875" cy="254000"/>
          </a:xfrm>
          <a:prstGeom prst="rect">
            <a:avLst/>
          </a:prstGeom>
        </p:spPr>
        <p:txBody>
          <a:bodyPr vert="horz" lIns="130622" tIns="65311" rIns="130622" bIns="65311"/>
          <a:lstStyle>
            <a:lvl1pPr marL="0" algn="ctr" defTabSz="1088473" rtl="0" eaLnBrk="1" latinLnBrk="0" hangingPunct="1">
              <a:defRPr kumimoji="0" lang="en-US" sz="833" b="0" i="0" kern="1200" spc="-42" baseline="0" smtClean="0">
                <a:solidFill>
                  <a:schemeClr val="accent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fld id="{24ACD9A6-C2A4-9048-B627-1D8831AABF9B}" type="datetime3">
              <a:rPr lang="en-US" smtClean="0"/>
              <a:pPr/>
              <a:t>8 January 2025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42958" y="6117167"/>
            <a:ext cx="2032000" cy="254000"/>
          </a:xfrm>
          <a:prstGeom prst="rect">
            <a:avLst/>
          </a:prstGeom>
        </p:spPr>
        <p:txBody>
          <a:bodyPr vert="horz" lIns="130622" tIns="65311" rIns="130622" bIns="65311"/>
          <a:lstStyle>
            <a:lvl1pPr algn="ctr" eaLnBrk="1" latinLnBrk="0" hangingPunct="1">
              <a:defRPr kumimoji="0" sz="833" b="0" i="1" spc="-42" baseline="0">
                <a:solidFill>
                  <a:schemeClr val="accent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r>
              <a:rPr lang="en-US"/>
              <a:t>Confidential: for internal use only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65C5E6C1-0068-4EC9-8D2D-7B572D8BE1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7984" y="1625634"/>
            <a:ext cx="10076033" cy="231779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6666" b="1" i="0" spc="-42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>
              <a:buNone/>
              <a:defRPr sz="3583">
                <a:solidFill>
                  <a:schemeClr val="tx1"/>
                </a:solidFill>
              </a:defRPr>
            </a:lvl2pPr>
            <a:lvl3pPr>
              <a:buNone/>
              <a:defRPr sz="3583">
                <a:solidFill>
                  <a:schemeClr val="tx1"/>
                </a:solidFill>
              </a:defRPr>
            </a:lvl3pPr>
            <a:lvl4pPr>
              <a:buNone/>
              <a:defRPr sz="3583">
                <a:solidFill>
                  <a:schemeClr val="tx1"/>
                </a:solidFill>
              </a:defRPr>
            </a:lvl4pPr>
            <a:lvl5pPr>
              <a:buNone/>
              <a:defRPr sz="358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ation Title Her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45D65DBF-9DC0-C3A2-4E9C-A398E43E20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51194" y="4365984"/>
            <a:ext cx="10089613" cy="79025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buNone/>
              <a:defRPr sz="2333" b="0" i="1" spc="-42" baseline="0">
                <a:solidFill>
                  <a:schemeClr val="accent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DD72D17E-4CEC-E659-E076-947FEB7E05F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886890" y="644410"/>
            <a:ext cx="2418220" cy="342900"/>
            <a:chOff x="3768553" y="3043966"/>
            <a:chExt cx="5564501" cy="789038"/>
          </a:xfrm>
          <a:solidFill>
            <a:schemeClr val="accent2"/>
          </a:solidFill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FD53C84E-AC0C-6E30-F633-B3C5EB295A39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9A7FECAF-FE7F-32C1-83A1-E0812CDB7699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1BBD78A-58CE-0B56-5BD2-8EFC2FB41818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99E840D-F64A-B99B-FFED-0F5EF0B874EE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C6E4470-0E8A-8455-4901-FA9AC7879183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F3E18A-DC0C-BD67-D93D-E9B7785E00BB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66554856-F772-18D2-EF53-77E66EB5784A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2FA1F60-8A6A-B983-9A51-444B58F659A3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F2474FD-179B-7A00-056A-E022E52AF7D3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94DEDDB-0D15-FA94-6545-FCC85A558852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D281D477-3778-7407-0F13-414AEE78AAE8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DC4B5FC1-6401-12FF-DFE4-E3E602E5E9A9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A3112E8-1282-68C7-E220-9B3807905495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Image - NO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Picture Placeholder 2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2000" cy="6858001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None/>
              <a:tabLst/>
              <a:defRPr spc="-42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16” x 9”</a:t>
            </a:r>
          </a:p>
        </p:txBody>
      </p:sp>
    </p:spTree>
    <p:extLst>
      <p:ext uri="{BB962C8B-B14F-4D97-AF65-F5344CB8AC3E}">
        <p14:creationId xmlns:p14="http://schemas.microsoft.com/office/powerpoint/2010/main" val="41562797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- NO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06146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spc="-42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5.33"x9"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4064000" y="-1"/>
            <a:ext cx="4061460" cy="68580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spc="-42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5.33"x9"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8128000" y="0"/>
            <a:ext cx="406146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spc="-42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5.33"x9"</a:t>
            </a:r>
          </a:p>
        </p:txBody>
      </p:sp>
    </p:spTree>
    <p:extLst>
      <p:ext uri="{BB962C8B-B14F-4D97-AF65-F5344CB8AC3E}">
        <p14:creationId xmlns:p14="http://schemas.microsoft.com/office/powerpoint/2010/main" val="10896713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- NO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048000" y="0"/>
            <a:ext cx="3048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6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"x7.32"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21" hasCustomPrompt="1"/>
          </p:nvPr>
        </p:nvSpPr>
        <p:spPr>
          <a:xfrm>
            <a:off x="6096000" y="0"/>
            <a:ext cx="3048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6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"x7.32"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22" hasCustomPrompt="1"/>
          </p:nvPr>
        </p:nvSpPr>
        <p:spPr>
          <a:xfrm>
            <a:off x="9144000" y="0"/>
            <a:ext cx="3048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6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"x7.32"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07810595-FEF6-B81E-8B37-AEB6F4D1354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-16933" y="0"/>
            <a:ext cx="30480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6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"x7.32"</a:t>
            </a:r>
          </a:p>
        </p:txBody>
      </p:sp>
    </p:spTree>
    <p:extLst>
      <p:ext uri="{BB962C8B-B14F-4D97-AF65-F5344CB8AC3E}">
        <p14:creationId xmlns:p14="http://schemas.microsoft.com/office/powerpoint/2010/main" val="32765164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- NO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4191000" y="0"/>
            <a:ext cx="3810000" cy="6858000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5"x9"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191000" cy="3429000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.5" x 5.5"</a:t>
            </a:r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3429000"/>
            <a:ext cx="4191000" cy="3429000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.5" x 5.5"</a:t>
            </a:r>
          </a:p>
        </p:txBody>
      </p:sp>
      <p:sp>
        <p:nvSpPr>
          <p:cNvPr id="25" name="Picture Placeholder 19"/>
          <p:cNvSpPr>
            <a:spLocks noGrp="1"/>
          </p:cNvSpPr>
          <p:nvPr>
            <p:ph type="pic" sz="quarter" idx="16" hasCustomPrompt="1"/>
          </p:nvPr>
        </p:nvSpPr>
        <p:spPr>
          <a:xfrm>
            <a:off x="8001000" y="0"/>
            <a:ext cx="4191000" cy="3429000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.5" x 5.5"</a:t>
            </a:r>
          </a:p>
        </p:txBody>
      </p:sp>
      <p:sp>
        <p:nvSpPr>
          <p:cNvPr id="26" name="Picture Placeholder 19"/>
          <p:cNvSpPr>
            <a:spLocks noGrp="1"/>
          </p:cNvSpPr>
          <p:nvPr>
            <p:ph type="pic" sz="quarter" idx="17" hasCustomPrompt="1"/>
          </p:nvPr>
        </p:nvSpPr>
        <p:spPr>
          <a:xfrm>
            <a:off x="8001000" y="3429000"/>
            <a:ext cx="4191000" cy="3429000"/>
          </a:xfrm>
          <a:prstGeom prst="rect">
            <a:avLst/>
          </a:prstGeom>
        </p:spPr>
        <p:txBody>
          <a:bodyPr/>
          <a:lstStyle>
            <a:lvl1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itchFamily="34" charset="0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image 4.5" x 5.5"</a:t>
            </a:r>
          </a:p>
        </p:txBody>
      </p:sp>
    </p:spTree>
    <p:extLst>
      <p:ext uri="{BB962C8B-B14F-4D97-AF65-F5344CB8AC3E}">
        <p14:creationId xmlns:p14="http://schemas.microsoft.com/office/powerpoint/2010/main" val="3665753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113874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20" hasCustomPrompt="1"/>
          </p:nvPr>
        </p:nvSpPr>
        <p:spPr>
          <a:xfrm>
            <a:off x="10255314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2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8227027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3" name="Picture Placeholder 14"/>
          <p:cNvSpPr>
            <a:spLocks noGrp="1"/>
          </p:cNvSpPr>
          <p:nvPr>
            <p:ph type="pic" sz="quarter" idx="22" hasCustomPrompt="1"/>
          </p:nvPr>
        </p:nvSpPr>
        <p:spPr>
          <a:xfrm>
            <a:off x="6198739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4" name="Picture Placeholder 14"/>
          <p:cNvSpPr>
            <a:spLocks noGrp="1"/>
          </p:cNvSpPr>
          <p:nvPr>
            <p:ph type="pic" sz="quarter" idx="23" hasCustomPrompt="1"/>
          </p:nvPr>
        </p:nvSpPr>
        <p:spPr>
          <a:xfrm>
            <a:off x="4170450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5" name="Picture Placeholder 14"/>
          <p:cNvSpPr>
            <a:spLocks noGrp="1"/>
          </p:cNvSpPr>
          <p:nvPr>
            <p:ph type="pic" sz="quarter" idx="24" hasCustomPrompt="1"/>
          </p:nvPr>
        </p:nvSpPr>
        <p:spPr>
          <a:xfrm>
            <a:off x="2142162" y="1996030"/>
            <a:ext cx="1821976" cy="294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242720" y="618278"/>
            <a:ext cx="6473031" cy="1193151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1000">
                <a:solidFill>
                  <a:schemeClr val="tx1"/>
                </a:solidFill>
              </a:defRPr>
            </a:lvl1pPr>
            <a:lvl2pPr marL="288384" indent="0">
              <a:buNone/>
              <a:defRPr/>
            </a:lvl2pPr>
            <a:lvl3pPr marL="522532" indent="0">
              <a:buNone/>
              <a:defRPr/>
            </a:lvl3pPr>
            <a:lvl4pPr marL="763292" indent="0">
              <a:buNone/>
              <a:defRPr/>
            </a:lvl4pPr>
            <a:lvl5pPr marL="1045062" indent="0">
              <a:buNone/>
              <a:defRPr/>
            </a:lvl5pPr>
          </a:lstStyle>
          <a:p>
            <a:pPr lvl="0"/>
            <a:r>
              <a:rPr lang="en-US" err="1"/>
              <a:t>Exerum</a:t>
            </a:r>
            <a:r>
              <a:rPr lang="en-US"/>
              <a:t> </a:t>
            </a:r>
            <a:r>
              <a:rPr lang="en-US" err="1"/>
              <a:t>resed</a:t>
            </a:r>
            <a:r>
              <a:rPr lang="en-US"/>
              <a:t> qui </a:t>
            </a:r>
            <a:r>
              <a:rPr lang="en-US" err="1"/>
              <a:t>optae</a:t>
            </a:r>
            <a:r>
              <a:rPr lang="en-US"/>
              <a:t> </a:t>
            </a:r>
            <a:r>
              <a:rPr lang="en-US" err="1"/>
              <a:t>nemporum</a:t>
            </a:r>
            <a:r>
              <a:rPr lang="en-US"/>
              <a:t> ex </a:t>
            </a:r>
            <a:r>
              <a:rPr lang="en-US" err="1"/>
              <a:t>esequis</a:t>
            </a:r>
            <a:r>
              <a:rPr lang="en-US"/>
              <a:t> </a:t>
            </a:r>
            <a:r>
              <a:rPr lang="en-US" err="1"/>
              <a:t>escius</a:t>
            </a:r>
            <a:r>
              <a:rPr lang="en-US"/>
              <a:t> </a:t>
            </a:r>
            <a:r>
              <a:rPr lang="en-US" err="1"/>
              <a:t>atem</a:t>
            </a:r>
            <a:r>
              <a:rPr lang="en-US"/>
              <a:t> re in </a:t>
            </a:r>
            <a:r>
              <a:rPr lang="en-US" err="1"/>
              <a:t>cor</a:t>
            </a:r>
            <a:r>
              <a:rPr lang="en-US"/>
              <a:t> </a:t>
            </a:r>
            <a:r>
              <a:rPr lang="en-US" err="1"/>
              <a:t>aliquis</a:t>
            </a:r>
            <a:r>
              <a:rPr lang="en-US"/>
              <a:t> </a:t>
            </a:r>
            <a:r>
              <a:rPr lang="en-US" err="1"/>
              <a:t>acillaut</a:t>
            </a:r>
            <a:r>
              <a:rPr lang="en-US"/>
              <a:t>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modi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 </a:t>
            </a:r>
            <a:r>
              <a:rPr lang="en-US" err="1"/>
              <a:t>consequ</a:t>
            </a:r>
            <a:r>
              <a:rPr lang="en-US"/>
              <a:t> </a:t>
            </a:r>
            <a:r>
              <a:rPr lang="en-US" err="1"/>
              <a:t>iaerrum</a:t>
            </a:r>
            <a:r>
              <a:rPr lang="en-US"/>
              <a:t> </a:t>
            </a:r>
            <a:r>
              <a:rPr lang="en-US" err="1"/>
              <a:t>exceat</a:t>
            </a:r>
            <a:r>
              <a:rPr lang="en-US"/>
              <a:t> </a:t>
            </a:r>
            <a:r>
              <a:rPr lang="en-US" err="1"/>
              <a:t>ressunt</a:t>
            </a:r>
            <a:r>
              <a:rPr lang="en-US"/>
              <a:t>,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acearibus</a:t>
            </a:r>
            <a:r>
              <a:rPr lang="en-US"/>
              <a:t> </a:t>
            </a:r>
            <a:r>
              <a:rPr lang="en-US" err="1"/>
              <a:t>dus</a:t>
            </a:r>
            <a:r>
              <a:rPr lang="en-US"/>
              <a:t> </a:t>
            </a:r>
            <a:r>
              <a:rPr lang="en-US" err="1"/>
              <a:t>alitatae</a:t>
            </a:r>
            <a:r>
              <a:rPr lang="en-US"/>
              <a:t> </a:t>
            </a:r>
            <a:r>
              <a:rPr lang="en-US" err="1"/>
              <a:t>porrum</a:t>
            </a:r>
            <a:r>
              <a:rPr lang="en-US"/>
              <a:t> </a:t>
            </a:r>
            <a:r>
              <a:rPr lang="en-US" err="1"/>
              <a:t>que</a:t>
            </a:r>
            <a:r>
              <a:rPr lang="en-US"/>
              <a:t> id </a:t>
            </a:r>
            <a:r>
              <a:rPr lang="en-US" err="1"/>
              <a:t>explabo</a:t>
            </a:r>
            <a:r>
              <a:rPr lang="en-US"/>
              <a:t> </a:t>
            </a:r>
            <a:r>
              <a:rPr lang="en-US" err="1"/>
              <a:t>rrumqua</a:t>
            </a:r>
            <a:r>
              <a:rPr lang="en-US"/>
              <a:t> </a:t>
            </a:r>
            <a:r>
              <a:rPr lang="en-US" err="1"/>
              <a:t>tiantur</a:t>
            </a:r>
            <a:r>
              <a:rPr lang="en-US"/>
              <a:t>, sit </a:t>
            </a:r>
            <a:r>
              <a:rPr lang="en-US" err="1"/>
              <a:t>exped</a:t>
            </a:r>
            <a:r>
              <a:rPr lang="en-US"/>
              <a:t> </a:t>
            </a:r>
            <a:r>
              <a:rPr lang="en-US" err="1"/>
              <a:t>maiorehenis</a:t>
            </a:r>
            <a:r>
              <a:rPr lang="en-US"/>
              <a:t> </a:t>
            </a:r>
            <a:r>
              <a:rPr lang="en-US" err="1"/>
              <a:t>apidunt</a:t>
            </a:r>
            <a:r>
              <a:rPr lang="en-US"/>
              <a:t>. </a:t>
            </a:r>
            <a:r>
              <a:rPr lang="en-US" err="1"/>
              <a:t>Nobitatiat</a:t>
            </a:r>
            <a:r>
              <a:rPr lang="en-US"/>
              <a:t> </a:t>
            </a:r>
            <a:r>
              <a:rPr lang="en-US" err="1"/>
              <a:t>alitio</a:t>
            </a:r>
            <a:r>
              <a:rPr lang="en-US"/>
              <a:t>. Am </a:t>
            </a:r>
            <a:r>
              <a:rPr lang="en-US" err="1"/>
              <a:t>si</a:t>
            </a:r>
            <a:r>
              <a:rPr lang="en-US"/>
              <a:t> od qui </a:t>
            </a:r>
            <a:r>
              <a:rPr lang="en-US" err="1"/>
              <a:t>sitatio</a:t>
            </a:r>
            <a:r>
              <a:rPr lang="en-US"/>
              <a:t> </a:t>
            </a:r>
            <a:r>
              <a:rPr lang="en-US" err="1"/>
              <a:t>temqui</a:t>
            </a:r>
            <a:r>
              <a:rPr lang="en-US"/>
              <a:t> </a:t>
            </a:r>
            <a:r>
              <a:rPr lang="en-US" err="1"/>
              <a:t>bea</a:t>
            </a:r>
            <a:r>
              <a:rPr lang="en-US"/>
              <a:t> </a:t>
            </a:r>
            <a:r>
              <a:rPr lang="en-US" err="1"/>
              <a:t>nissit</a:t>
            </a:r>
            <a:r>
              <a:rPr lang="en-US"/>
              <a:t>, </a:t>
            </a:r>
            <a:r>
              <a:rPr lang="en-US" err="1"/>
              <a:t>consece</a:t>
            </a:r>
            <a:r>
              <a:rPr lang="en-US"/>
              <a:t> </a:t>
            </a:r>
            <a:r>
              <a:rPr lang="en-US" err="1"/>
              <a:t>rspiti</a:t>
            </a:r>
            <a:r>
              <a:rPr lang="en-US"/>
              <a:t> </a:t>
            </a:r>
            <a:r>
              <a:rPr lang="en-US" err="1"/>
              <a:t>inci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et </a:t>
            </a:r>
            <a:r>
              <a:rPr lang="en-US" err="1"/>
              <a:t>m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molupta</a:t>
            </a:r>
            <a:r>
              <a:rPr lang="en-US"/>
              <a:t> cum </a:t>
            </a:r>
            <a:r>
              <a:rPr lang="en-US" err="1"/>
              <a:t>eostore</a:t>
            </a:r>
            <a:r>
              <a:rPr lang="en-US"/>
              <a:t> </a:t>
            </a:r>
            <a:r>
              <a:rPr lang="en-US" err="1"/>
              <a:t>pellab</a:t>
            </a:r>
            <a:r>
              <a:rPr lang="en-US"/>
              <a:t> id </a:t>
            </a:r>
            <a:r>
              <a:rPr lang="en-US" err="1"/>
              <a:t>quodige</a:t>
            </a:r>
            <a:r>
              <a:rPr lang="en-US"/>
              <a:t> </a:t>
            </a:r>
            <a:r>
              <a:rPr lang="en-US" err="1"/>
              <a:t>nimetur</a:t>
            </a:r>
            <a:r>
              <a:rPr lang="en-US"/>
              <a:t> </a:t>
            </a:r>
            <a:r>
              <a:rPr lang="en-US" err="1"/>
              <a:t>secatur</a:t>
            </a:r>
            <a:r>
              <a:rPr lang="en-US"/>
              <a:t>, </a:t>
            </a:r>
            <a:r>
              <a:rPr lang="en-US" err="1"/>
              <a:t>sita</a:t>
            </a:r>
            <a:r>
              <a:rPr lang="en-US"/>
              <a:t> </a:t>
            </a:r>
            <a:r>
              <a:rPr lang="en-US" err="1"/>
              <a:t>culparum</a:t>
            </a:r>
            <a:r>
              <a:rPr lang="en-US"/>
              <a:t> </a:t>
            </a:r>
            <a:r>
              <a:rPr lang="en-US" err="1"/>
              <a:t>ratem</a:t>
            </a:r>
            <a:r>
              <a:rPr lang="en-US"/>
              <a:t> </a:t>
            </a:r>
            <a:r>
              <a:rPr lang="en-US" err="1"/>
              <a:t>amus</a:t>
            </a:r>
            <a:r>
              <a:rPr lang="en-US"/>
              <a:t>. </a:t>
            </a:r>
          </a:p>
        </p:txBody>
      </p:sp>
      <p:sp>
        <p:nvSpPr>
          <p:cNvPr id="40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113874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41" name="Text Placeholder 15"/>
          <p:cNvSpPr>
            <a:spLocks noGrp="1"/>
          </p:cNvSpPr>
          <p:nvPr>
            <p:ph type="body" sz="quarter" idx="35" hasCustomPrompt="1"/>
          </p:nvPr>
        </p:nvSpPr>
        <p:spPr>
          <a:xfrm>
            <a:off x="113874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2140150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52" name="Text Placeholder 15"/>
          <p:cNvSpPr>
            <a:spLocks noGrp="1"/>
          </p:cNvSpPr>
          <p:nvPr>
            <p:ph type="body" sz="quarter" idx="37" hasCustomPrompt="1"/>
          </p:nvPr>
        </p:nvSpPr>
        <p:spPr>
          <a:xfrm>
            <a:off x="2140150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53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4170450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54" name="Text Placeholder 15"/>
          <p:cNvSpPr>
            <a:spLocks noGrp="1"/>
          </p:cNvSpPr>
          <p:nvPr>
            <p:ph type="body" sz="quarter" idx="39" hasCustomPrompt="1"/>
          </p:nvPr>
        </p:nvSpPr>
        <p:spPr>
          <a:xfrm>
            <a:off x="4170450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6198739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56" name="Text Placeholder 15"/>
          <p:cNvSpPr>
            <a:spLocks noGrp="1"/>
          </p:cNvSpPr>
          <p:nvPr>
            <p:ph type="body" sz="quarter" idx="41" hasCustomPrompt="1"/>
          </p:nvPr>
        </p:nvSpPr>
        <p:spPr>
          <a:xfrm>
            <a:off x="6198739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42" hasCustomPrompt="1"/>
          </p:nvPr>
        </p:nvSpPr>
        <p:spPr>
          <a:xfrm>
            <a:off x="8227027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58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8227027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59" name="Text Placeholder 10"/>
          <p:cNvSpPr>
            <a:spLocks noGrp="1"/>
          </p:cNvSpPr>
          <p:nvPr>
            <p:ph type="body" sz="quarter" idx="44" hasCustomPrompt="1"/>
          </p:nvPr>
        </p:nvSpPr>
        <p:spPr>
          <a:xfrm>
            <a:off x="10255314" y="4942410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60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10255314" y="5320365"/>
            <a:ext cx="1821976" cy="612200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26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F97A914-01EC-7474-7776-558CB1B1E2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4637617" cy="8393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3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A9732B5-CD34-95E1-63E6-52D64762A1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4637617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41766575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113874" y="3082961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20" hasCustomPrompt="1"/>
          </p:nvPr>
        </p:nvSpPr>
        <p:spPr>
          <a:xfrm>
            <a:off x="10255314" y="3076795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2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8227027" y="3076795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3" name="Picture Placeholder 14"/>
          <p:cNvSpPr>
            <a:spLocks noGrp="1"/>
          </p:cNvSpPr>
          <p:nvPr>
            <p:ph type="pic" sz="quarter" idx="22" hasCustomPrompt="1"/>
          </p:nvPr>
        </p:nvSpPr>
        <p:spPr>
          <a:xfrm>
            <a:off x="6198739" y="3076795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4" name="Picture Placeholder 14"/>
          <p:cNvSpPr>
            <a:spLocks noGrp="1"/>
          </p:cNvSpPr>
          <p:nvPr>
            <p:ph type="pic" sz="quarter" idx="23" hasCustomPrompt="1"/>
          </p:nvPr>
        </p:nvSpPr>
        <p:spPr>
          <a:xfrm>
            <a:off x="4170450" y="3076795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5" name="Picture Placeholder 14"/>
          <p:cNvSpPr>
            <a:spLocks noGrp="1"/>
          </p:cNvSpPr>
          <p:nvPr>
            <p:ph type="pic" sz="quarter" idx="24" hasCustomPrompt="1"/>
          </p:nvPr>
        </p:nvSpPr>
        <p:spPr>
          <a:xfrm>
            <a:off x="2142162" y="3076795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86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113874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87" name="Text Placeholder 15"/>
          <p:cNvSpPr>
            <a:spLocks noGrp="1"/>
          </p:cNvSpPr>
          <p:nvPr>
            <p:ph type="body" sz="quarter" idx="35" hasCustomPrompt="1"/>
          </p:nvPr>
        </p:nvSpPr>
        <p:spPr>
          <a:xfrm>
            <a:off x="113874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88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2140150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89" name="Text Placeholder 15"/>
          <p:cNvSpPr>
            <a:spLocks noGrp="1"/>
          </p:cNvSpPr>
          <p:nvPr>
            <p:ph type="body" sz="quarter" idx="37" hasCustomPrompt="1"/>
          </p:nvPr>
        </p:nvSpPr>
        <p:spPr>
          <a:xfrm>
            <a:off x="2140150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90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4170450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91" name="Text Placeholder 15"/>
          <p:cNvSpPr>
            <a:spLocks noGrp="1"/>
          </p:cNvSpPr>
          <p:nvPr>
            <p:ph type="body" sz="quarter" idx="39" hasCustomPrompt="1"/>
          </p:nvPr>
        </p:nvSpPr>
        <p:spPr>
          <a:xfrm>
            <a:off x="4170450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92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6198739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93" name="Text Placeholder 15"/>
          <p:cNvSpPr>
            <a:spLocks noGrp="1"/>
          </p:cNvSpPr>
          <p:nvPr>
            <p:ph type="body" sz="quarter" idx="41" hasCustomPrompt="1"/>
          </p:nvPr>
        </p:nvSpPr>
        <p:spPr>
          <a:xfrm>
            <a:off x="6198739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94" name="Text Placeholder 10"/>
          <p:cNvSpPr>
            <a:spLocks noGrp="1"/>
          </p:cNvSpPr>
          <p:nvPr>
            <p:ph type="body" sz="quarter" idx="42" hasCustomPrompt="1"/>
          </p:nvPr>
        </p:nvSpPr>
        <p:spPr>
          <a:xfrm>
            <a:off x="8227027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95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8227027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96" name="Text Placeholder 10"/>
          <p:cNvSpPr>
            <a:spLocks noGrp="1"/>
          </p:cNvSpPr>
          <p:nvPr>
            <p:ph type="body" sz="quarter" idx="44" hasCustomPrompt="1"/>
          </p:nvPr>
        </p:nvSpPr>
        <p:spPr>
          <a:xfrm>
            <a:off x="10255314" y="5133106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97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10255314" y="5511061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16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113874" y="150926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7" name="Picture Placeholder 14"/>
          <p:cNvSpPr>
            <a:spLocks noGrp="1"/>
          </p:cNvSpPr>
          <p:nvPr>
            <p:ph type="pic" sz="quarter" idx="47" hasCustomPrompt="1"/>
          </p:nvPr>
        </p:nvSpPr>
        <p:spPr>
          <a:xfrm>
            <a:off x="10255314" y="144760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8" name="Picture Placeholder 14"/>
          <p:cNvSpPr>
            <a:spLocks noGrp="1"/>
          </p:cNvSpPr>
          <p:nvPr>
            <p:ph type="pic" sz="quarter" idx="48" hasCustomPrompt="1"/>
          </p:nvPr>
        </p:nvSpPr>
        <p:spPr>
          <a:xfrm>
            <a:off x="8227027" y="144760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9" name="Picture Placeholder 14"/>
          <p:cNvSpPr>
            <a:spLocks noGrp="1"/>
          </p:cNvSpPr>
          <p:nvPr>
            <p:ph type="pic" sz="quarter" idx="49" hasCustomPrompt="1"/>
          </p:nvPr>
        </p:nvSpPr>
        <p:spPr>
          <a:xfrm>
            <a:off x="6198739" y="144760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20" name="Picture Placeholder 14"/>
          <p:cNvSpPr>
            <a:spLocks noGrp="1"/>
          </p:cNvSpPr>
          <p:nvPr>
            <p:ph type="pic" sz="quarter" idx="50" hasCustomPrompt="1"/>
          </p:nvPr>
        </p:nvSpPr>
        <p:spPr>
          <a:xfrm>
            <a:off x="4170450" y="144760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21" name="Picture Placeholder 14"/>
          <p:cNvSpPr>
            <a:spLocks noGrp="1"/>
          </p:cNvSpPr>
          <p:nvPr>
            <p:ph type="pic" sz="quarter" idx="51" hasCustomPrompt="1"/>
          </p:nvPr>
        </p:nvSpPr>
        <p:spPr>
          <a:xfrm>
            <a:off x="2142162" y="144760"/>
            <a:ext cx="1821976" cy="20563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22" name="Text Placeholder 10"/>
          <p:cNvSpPr>
            <a:spLocks noGrp="1"/>
          </p:cNvSpPr>
          <p:nvPr>
            <p:ph type="body" sz="quarter" idx="52" hasCustomPrompt="1"/>
          </p:nvPr>
        </p:nvSpPr>
        <p:spPr>
          <a:xfrm>
            <a:off x="113874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23" name="Text Placeholder 15"/>
          <p:cNvSpPr>
            <a:spLocks noGrp="1"/>
          </p:cNvSpPr>
          <p:nvPr>
            <p:ph type="body" sz="quarter" idx="53" hasCustomPrompt="1"/>
          </p:nvPr>
        </p:nvSpPr>
        <p:spPr>
          <a:xfrm>
            <a:off x="113874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24" name="Text Placeholder 10"/>
          <p:cNvSpPr>
            <a:spLocks noGrp="1"/>
          </p:cNvSpPr>
          <p:nvPr>
            <p:ph type="body" sz="quarter" idx="54" hasCustomPrompt="1"/>
          </p:nvPr>
        </p:nvSpPr>
        <p:spPr>
          <a:xfrm>
            <a:off x="2140150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25" name="Text Placeholder 15"/>
          <p:cNvSpPr>
            <a:spLocks noGrp="1"/>
          </p:cNvSpPr>
          <p:nvPr>
            <p:ph type="body" sz="quarter" idx="55" hasCustomPrompt="1"/>
          </p:nvPr>
        </p:nvSpPr>
        <p:spPr>
          <a:xfrm>
            <a:off x="2140150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26" name="Text Placeholder 10"/>
          <p:cNvSpPr>
            <a:spLocks noGrp="1"/>
          </p:cNvSpPr>
          <p:nvPr>
            <p:ph type="body" sz="quarter" idx="56" hasCustomPrompt="1"/>
          </p:nvPr>
        </p:nvSpPr>
        <p:spPr>
          <a:xfrm>
            <a:off x="4170450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27" name="Text Placeholder 15"/>
          <p:cNvSpPr>
            <a:spLocks noGrp="1"/>
          </p:cNvSpPr>
          <p:nvPr>
            <p:ph type="body" sz="quarter" idx="57" hasCustomPrompt="1"/>
          </p:nvPr>
        </p:nvSpPr>
        <p:spPr>
          <a:xfrm>
            <a:off x="4170450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28" name="Text Placeholder 10"/>
          <p:cNvSpPr>
            <a:spLocks noGrp="1"/>
          </p:cNvSpPr>
          <p:nvPr>
            <p:ph type="body" sz="quarter" idx="58" hasCustomPrompt="1"/>
          </p:nvPr>
        </p:nvSpPr>
        <p:spPr>
          <a:xfrm>
            <a:off x="6198739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29" name="Text Placeholder 15"/>
          <p:cNvSpPr>
            <a:spLocks noGrp="1"/>
          </p:cNvSpPr>
          <p:nvPr>
            <p:ph type="body" sz="quarter" idx="59" hasCustomPrompt="1"/>
          </p:nvPr>
        </p:nvSpPr>
        <p:spPr>
          <a:xfrm>
            <a:off x="6198739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30" name="Text Placeholder 10"/>
          <p:cNvSpPr>
            <a:spLocks noGrp="1"/>
          </p:cNvSpPr>
          <p:nvPr>
            <p:ph type="body" sz="quarter" idx="60" hasCustomPrompt="1"/>
          </p:nvPr>
        </p:nvSpPr>
        <p:spPr>
          <a:xfrm>
            <a:off x="8227027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31" name="Text Placeholder 15"/>
          <p:cNvSpPr>
            <a:spLocks noGrp="1"/>
          </p:cNvSpPr>
          <p:nvPr>
            <p:ph type="body" sz="quarter" idx="61" hasCustomPrompt="1"/>
          </p:nvPr>
        </p:nvSpPr>
        <p:spPr>
          <a:xfrm>
            <a:off x="8227027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132" name="Text Placeholder 10"/>
          <p:cNvSpPr>
            <a:spLocks noGrp="1"/>
          </p:cNvSpPr>
          <p:nvPr>
            <p:ph type="body" sz="quarter" idx="62" hasCustomPrompt="1"/>
          </p:nvPr>
        </p:nvSpPr>
        <p:spPr>
          <a:xfrm>
            <a:off x="10255314" y="2201071"/>
            <a:ext cx="1821976" cy="358555"/>
          </a:xfrm>
        </p:spPr>
        <p:txBody>
          <a:bodyPr anchor="b">
            <a:normAutofit/>
          </a:bodyPr>
          <a:lstStyle>
            <a:lvl1pPr marL="0" indent="0" algn="ctr">
              <a:buNone/>
              <a:defRPr sz="833" b="1" i="0" spc="-25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duct Name</a:t>
            </a:r>
          </a:p>
        </p:txBody>
      </p:sp>
      <p:sp>
        <p:nvSpPr>
          <p:cNvPr id="133" name="Text Placeholder 15"/>
          <p:cNvSpPr>
            <a:spLocks noGrp="1"/>
          </p:cNvSpPr>
          <p:nvPr>
            <p:ph type="body" sz="quarter" idx="63" hasCustomPrompt="1"/>
          </p:nvPr>
        </p:nvSpPr>
        <p:spPr>
          <a:xfrm>
            <a:off x="10255314" y="2579026"/>
            <a:ext cx="1821976" cy="407783"/>
          </a:xfrm>
        </p:spPr>
        <p:txBody>
          <a:bodyPr>
            <a:noAutofit/>
          </a:bodyPr>
          <a:lstStyle>
            <a:lvl1pPr marL="0" indent="0" algn="ctr">
              <a:buNone/>
              <a:defRPr sz="833" spc="-25" baseline="0">
                <a:solidFill>
                  <a:srgbClr val="000000"/>
                </a:solidFill>
              </a:defRPr>
            </a:lvl1pPr>
            <a:lvl2pPr marL="288384" indent="0" algn="ctr">
              <a:buNone/>
              <a:defRPr sz="833"/>
            </a:lvl2pPr>
            <a:lvl3pPr marL="522532" indent="0" algn="ctr">
              <a:buNone/>
              <a:defRPr sz="833"/>
            </a:lvl3pPr>
            <a:lvl4pPr marL="763292" indent="0" algn="ctr">
              <a:buNone/>
              <a:defRPr sz="833"/>
            </a:lvl4pPr>
            <a:lvl5pPr marL="1045062" indent="0" algn="ctr">
              <a:buNone/>
              <a:defRPr sz="833"/>
            </a:lvl5pPr>
          </a:lstStyle>
          <a:p>
            <a:pPr lvl="0"/>
            <a:r>
              <a:rPr lang="en-US"/>
              <a:t>Product specs or info</a:t>
            </a:r>
          </a:p>
        </p:txBody>
      </p:sp>
      <p:sp>
        <p:nvSpPr>
          <p:cNvPr id="40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1705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A7CF94FF-78FF-571A-251D-C208FFD699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4381500"/>
            <a:ext cx="3048000" cy="2476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81367F54-0664-25F0-844E-44DA6E43061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048000" y="4381500"/>
            <a:ext cx="3048000" cy="2476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A496377F-3DBA-472A-B9BE-8F2B659CCEC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96000" y="4381500"/>
            <a:ext cx="3048000" cy="2476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ED351EAE-1651-E4A7-FDC6-05784A2F91D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144000" y="4381500"/>
            <a:ext cx="3048000" cy="2476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5D0AE75-A72C-D258-2326-B4FC0BE478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4129215"/>
            <a:ext cx="3048000" cy="252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1667" b="1" cap="none" spc="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39" lvl="0" indent="-285739">
              <a:spcAft>
                <a:spcPts val="667"/>
              </a:spcAft>
            </a:pPr>
            <a:r>
              <a:rPr lang="en-US"/>
              <a:t>Header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92DBEEF-F700-8384-8C99-7B2B626A4D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00" y="4129215"/>
            <a:ext cx="3048000" cy="252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1667" b="1" cap="none" spc="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39" lvl="0" indent="-285739">
              <a:spcAft>
                <a:spcPts val="667"/>
              </a:spcAft>
            </a:pPr>
            <a:r>
              <a:rPr lang="en-US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1DB5D2-C0B8-C8CB-DD59-6DB9BF378C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0" y="4129215"/>
            <a:ext cx="3048000" cy="252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1667" b="1" cap="none" spc="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39" lvl="0" indent="-285739">
              <a:spcAft>
                <a:spcPts val="667"/>
              </a:spcAft>
            </a:pPr>
            <a:r>
              <a:rPr lang="en-US"/>
              <a:t>Header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80FD7AE-E38A-059A-6BFB-6BD15C66A3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4000" y="4129215"/>
            <a:ext cx="3048000" cy="252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1667" b="1" cap="none" spc="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39" lvl="0" indent="-285739">
              <a:spcAft>
                <a:spcPts val="667"/>
              </a:spcAft>
            </a:pPr>
            <a:r>
              <a:rPr lang="en-US"/>
              <a:t>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3EEDAEA9-4871-51B7-A92E-14C2170BD5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5000" b="1" spc="-125" baseline="0" dirty="0">
                <a:latin typeface="Arial"/>
              </a:defRPr>
            </a:lvl1pPr>
          </a:lstStyle>
          <a:p>
            <a:pPr marL="285739" lvl="0" indent="-285739">
              <a:lnSpc>
                <a:spcPct val="85000"/>
              </a:lnSpc>
              <a:buClr>
                <a:schemeClr val="accent1"/>
              </a:buClr>
              <a:buSzPct val="120000"/>
            </a:pPr>
            <a:r>
              <a:rPr lang="en-US"/>
              <a:t>Headline Goes He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D447D6B-CDA0-1057-FA7A-0F0968266F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F465A181-8624-510B-C880-F68A9325D31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76250" y="1791938"/>
            <a:ext cx="11239500" cy="21027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11857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8ED56A51-8370-DCCD-B568-B35D85B9E1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E8BC9DA-5AC1-FFEC-0138-92C5F4BE13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ADB78C-73E0-65A9-0F99-6DF867CE95B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6250" y="1791938"/>
            <a:ext cx="11239500" cy="41798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/Next Chap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92FAA9E-5D91-F847-B776-0331AEE28B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9963" y="1964971"/>
            <a:ext cx="5425787" cy="304800"/>
          </a:xfrm>
          <a:prstGeom prst="rect">
            <a:avLst/>
          </a:prstGeom>
        </p:spPr>
        <p:txBody>
          <a:bodyPr lIns="91440" anchor="b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1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C772C58-62D0-6643-B426-80F400EF7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6250" y="1964971"/>
            <a:ext cx="5425787" cy="304800"/>
          </a:xfrm>
          <a:prstGeom prst="rect">
            <a:avLst/>
          </a:prstGeom>
        </p:spPr>
        <p:txBody>
          <a:bodyPr lIns="137160" anchor="b">
            <a:noAutofit/>
          </a:bodyPr>
          <a:lstStyle>
            <a:lvl1pPr marL="0" indent="0" algn="r">
              <a:spcAft>
                <a:spcPts val="667"/>
              </a:spcAft>
              <a:buFont typeface="Arial"/>
              <a:buNone/>
              <a:defRPr sz="1667" b="1" i="0" cap="none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F0E48C3-CB3F-2949-A66E-367501A17C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963" y="2277084"/>
            <a:ext cx="5425787" cy="3527971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2333" b="0" i="0" cap="none" spc="-42" baseline="0">
                <a:solidFill>
                  <a:schemeClr val="bg2">
                    <a:lumMod val="25000"/>
                  </a:schemeClr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5FE7372-BC7F-E648-B13F-03093BCD3F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6250" y="2277084"/>
            <a:ext cx="5425787" cy="3527971"/>
          </a:xfrm>
          <a:prstGeom prst="rect">
            <a:avLst/>
          </a:prstGeom>
        </p:spPr>
        <p:txBody>
          <a:bodyPr lIns="137160" anchor="t">
            <a:noAutofit/>
          </a:bodyPr>
          <a:lstStyle>
            <a:lvl1pPr marL="0" indent="0" algn="r">
              <a:spcAft>
                <a:spcPts val="667"/>
              </a:spcAft>
              <a:buFont typeface="Arial"/>
              <a:buNone/>
              <a:defRPr sz="2333" b="0" i="0" cap="none" spc="-42" baseline="0">
                <a:solidFill>
                  <a:schemeClr val="accent6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27A0A77-C690-439C-3509-D81A28537E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FE0CD6-EDC9-63EC-FAE5-62496F59DE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3824844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st/Next Chapter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471991-4792-2E9E-4F25-9002D658F3D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3"/>
          </a:p>
        </p:txBody>
      </p:sp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92FAA9E-5D91-F847-B776-0331AEE28B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9963" y="1728277"/>
            <a:ext cx="5425787" cy="866852"/>
          </a:xfrm>
          <a:prstGeom prst="rect">
            <a:avLst/>
          </a:prstGeom>
        </p:spPr>
        <p:txBody>
          <a:bodyPr lIns="91440" anchor="b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4000" b="1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C772C58-62D0-6643-B426-80F400EF70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6250" y="1728277"/>
            <a:ext cx="5425787" cy="866852"/>
          </a:xfrm>
          <a:prstGeom prst="rect">
            <a:avLst/>
          </a:prstGeom>
        </p:spPr>
        <p:txBody>
          <a:bodyPr lIns="137160" anchor="b">
            <a:noAutofit/>
          </a:bodyPr>
          <a:lstStyle>
            <a:lvl1pPr marL="0" indent="0" algn="r">
              <a:spcAft>
                <a:spcPts val="667"/>
              </a:spcAft>
              <a:buFont typeface="Arial"/>
              <a:buNone/>
              <a:defRPr sz="4000" b="1" i="0" cap="none" spc="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F0E48C3-CB3F-2949-A66E-367501A17C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963" y="2626870"/>
            <a:ext cx="5425787" cy="3178185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0" i="0" cap="none" spc="-42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5FE7372-BC7F-E648-B13F-03093BCD3F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6250" y="2626870"/>
            <a:ext cx="5425787" cy="3178185"/>
          </a:xfrm>
          <a:prstGeom prst="rect">
            <a:avLst/>
          </a:prstGeom>
        </p:spPr>
        <p:txBody>
          <a:bodyPr lIns="137160" anchor="t">
            <a:noAutofit/>
          </a:bodyPr>
          <a:lstStyle>
            <a:lvl1pPr marL="0" indent="0" algn="r">
              <a:spcAft>
                <a:spcPts val="667"/>
              </a:spcAft>
              <a:buFont typeface="Arial"/>
              <a:buNone/>
              <a:defRPr sz="1667" b="0" i="0" cap="none" spc="-42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27A0A77-C690-439C-3509-D81A28537E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5425787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4000" b="1" spc="-125" baseline="0" dirty="0">
                <a:solidFill>
                  <a:schemeClr val="bg2"/>
                </a:solidFill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BFE0CD6-EDC9-63EC-FAE5-62496F59DE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5425787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grpSp>
        <p:nvGrpSpPr>
          <p:cNvPr id="4" name="Graphic 2">
            <a:extLst>
              <a:ext uri="{FF2B5EF4-FFF2-40B4-BE49-F238E27FC236}">
                <a16:creationId xmlns:a16="http://schemas.microsoft.com/office/drawing/2014/main" id="{676AAC74-E788-BC9A-91E2-D347E16F5D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23FAF1C-C275-0D75-1F2B-B175190D95DD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53D6514-EFFC-A095-1E6E-61F02C0F754E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5936F60-F8A7-8D87-A724-CDD95ACF1716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551A480-2BF8-5E96-EFD3-108156BF4410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050E54E-5F9C-A95E-5843-2378FEBE9273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52D69FB-46B4-C3A0-3A35-3DAE691175BD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9C8D779-5173-5E08-D31F-423D2171EB39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44930A1-E18C-B9F9-5B37-8812A3E10DF2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ABBDCC9-4251-E41B-6F96-88FFA605E49B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77023649-BB48-B7F8-8DA6-0C2C455A9A12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5D7BAC8-AD21-1380-F7F9-E1C14E57E63C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A5AD519C-3739-8D19-AF32-836437088F74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2680B71B-041C-414E-21B1-721F25481889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062515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TO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419424"/>
            <a:ext cx="11239500" cy="593562"/>
          </a:xfrm>
          <a:prstGeom prst="rect">
            <a:avLst/>
          </a:prstGeom>
          <a:noFill/>
        </p:spPr>
        <p:txBody>
          <a:bodyPr vert="horz" lIns="130622" tIns="65311" rIns="130622" bIns="65311">
            <a:sp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3000" b="0" i="0" kern="1200" spc="-125" baseline="0" dirty="0" smtClean="0">
                <a:solidFill>
                  <a:schemeClr val="bg2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Agenda or Table of Content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0" y="1166308"/>
            <a:ext cx="11239500" cy="4525385"/>
          </a:xfrm>
          <a:prstGeom prst="rect">
            <a:avLst/>
          </a:prstGeom>
          <a:noFill/>
        </p:spPr>
        <p:txBody>
          <a:bodyPr vert="horz" lIns="130622" tIns="65311" rIns="130622" bIns="65311" numCol="2" spcCol="274320" anchor="ctr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tabLst>
                <a:tab pos="1133695" algn="l"/>
              </a:tabLst>
              <a:defRPr kumimoji="0" lang="en-US" sz="5000" b="1" i="0" kern="1200" spc="-83" baseline="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#	Section 1</a:t>
            </a:r>
          </a:p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#	Section 2</a:t>
            </a:r>
          </a:p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#	Section 3</a:t>
            </a:r>
          </a:p>
        </p:txBody>
      </p:sp>
      <p:sp>
        <p:nvSpPr>
          <p:cNvPr id="16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bg2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bg2"/>
              </a:solidFill>
              <a:latin typeface="Arial"/>
              <a:cs typeface="Arial"/>
            </a:endParaRPr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FF60144A-1512-7FB3-2A46-B55FB11138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D686C289-307D-37C9-C20D-AD911899F75B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052184E-9173-F32E-4C7D-429F365824A3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BFCC62F-6439-F575-E13E-CF8B4BD69D3C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ED6BBC6-D1F6-D1A0-760A-6E05CD04DA03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35AD5F00-13D1-626D-8DB5-85ADDA5E8EE5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90EF7CE-8175-ACF1-CC4D-66D88319C0BE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DDC33D0-18D4-F6F2-9183-C814B7BCA0C9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92DFFA6-2B31-F180-4360-AA06D1E4DFAA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7C458A6-6761-836C-DDFB-E88BDB8367FD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C6F7CBE1-A2AB-F12A-B105-0BBD6B73BEEA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929036A-8AB3-62D2-FE3B-46B7D47AA545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97E8BD7-A087-6C9D-142C-C1CE63ACF783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3CB2F2A4-4A9C-CE49-6FEB-E2797C9B5D65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81852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y the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venir Next Medium" panose="020B0503020202020204" pitchFamily="34" charset="0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238C7B1-9D70-7A45-8E2C-26EE07E870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2807252"/>
            <a:ext cx="3048000" cy="9271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0" i="0" cap="none" spc="-25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60D545B-AEBF-564C-8616-F6D9A40504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9750" y="1866900"/>
            <a:ext cx="5048250" cy="9271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6000" b="1" i="0" cap="none" spc="-25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7F32532-AEA7-324A-A620-21EFF6EBE0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50" y="4977333"/>
            <a:ext cx="3048000" cy="9271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0" i="0" cap="none" spc="-25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4ED61BA-8DE9-4747-9368-531BD89100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9750" y="4038600"/>
            <a:ext cx="5048250" cy="9271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6000" b="1" i="0" cap="none" spc="-25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14FD1-E76B-854D-A7BF-2717DF69FCC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84850" y="2807252"/>
            <a:ext cx="3048000" cy="9271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0" i="0" cap="none" spc="-25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E7F7B84-3A82-2C49-B2C2-EB730F285E2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784850" y="4977333"/>
            <a:ext cx="3048000" cy="9271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1667" b="0" i="0" cap="none" spc="-25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B3A5253-2EF8-DE49-85B8-5440E97DFE8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84850" y="4038600"/>
            <a:ext cx="5562772" cy="9271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6000" b="1" i="0" cap="none" spc="-25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XX%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A37ADF6-75C4-8449-968D-18F9FB25CD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6307" y="1866900"/>
            <a:ext cx="5561314" cy="9271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spcAft>
                <a:spcPts val="667"/>
              </a:spcAft>
              <a:buFont typeface="Arial"/>
              <a:buNone/>
              <a:defRPr sz="6000" b="1" i="0" cap="none" spc="-25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$123,456,789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17F9DBF-2698-85DC-F765-71BE319EFC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2FD3477-A307-22D2-E87D-9E057814B7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tx1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32280778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892072"/>
            <a:ext cx="11239500" cy="393746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lnSpc>
                <a:spcPct val="85000"/>
              </a:lnSpc>
              <a:buNone/>
              <a:defRPr sz="9583" b="1" i="0" spc="-25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ign Off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3709184" y="6368923"/>
            <a:ext cx="762000" cy="762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108847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>
              <a:latin typeface="Arial"/>
              <a:cs typeface="Arial"/>
            </a:endParaRPr>
          </a:p>
        </p:txBody>
      </p:sp>
      <p:grpSp>
        <p:nvGrpSpPr>
          <p:cNvPr id="22" name="Graphic 2">
            <a:extLst>
              <a:ext uri="{FF2B5EF4-FFF2-40B4-BE49-F238E27FC236}">
                <a16:creationId xmlns:a16="http://schemas.microsoft.com/office/drawing/2014/main" id="{FFE6C695-D5E4-60E0-FBFC-71F6F0BAC5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886890" y="5623028"/>
            <a:ext cx="2418220" cy="342900"/>
            <a:chOff x="3768553" y="3043966"/>
            <a:chExt cx="5564501" cy="789038"/>
          </a:xfrm>
          <a:solidFill>
            <a:schemeClr val="accent2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9767B1B-3E7C-03E9-EA08-EBD14E3C2645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66C924B0-A333-79B6-C06B-404EB8AC261A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526FB635-72B9-FE3B-1F56-BE7AAE34A6C6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5DB2355C-9678-563D-9638-607842325EF8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1EFBFEBF-4598-CECA-93BB-003192B7DE78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CC3D724A-F475-8129-ECCC-60C23801A7C9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C10D36D6-BFF3-D6B8-CD77-7BB0DD3E3687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C189AB70-9666-9129-13D3-E59148716EBA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EE7120B7-DBD4-58E8-2AB3-6C3FCBBB5412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BAC2992C-B63D-ABDA-203D-E66B92F07242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F8249EC4-D1AF-FF62-8BC2-804D9F7F0238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CB5B5FFA-E6A9-5E9A-726C-D36D915E6BD7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C4CF4CC8-7AE0-4D25-D3F5-04606A1A370D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145572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709184" y="6368923"/>
            <a:ext cx="762000" cy="762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108847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>
              <a:latin typeface="Arial"/>
              <a:cs typeface="Arial"/>
            </a:endParaRPr>
          </a:p>
        </p:txBody>
      </p:sp>
      <p:grpSp>
        <p:nvGrpSpPr>
          <p:cNvPr id="39" name="Graphic 36">
            <a:extLst>
              <a:ext uri="{FF2B5EF4-FFF2-40B4-BE49-F238E27FC236}">
                <a16:creationId xmlns:a16="http://schemas.microsoft.com/office/drawing/2014/main" id="{2D2B87C9-E98E-446C-E06C-0B2117B0C301}"/>
              </a:ext>
            </a:extLst>
          </p:cNvPr>
          <p:cNvGrpSpPr/>
          <p:nvPr/>
        </p:nvGrpSpPr>
        <p:grpSpPr>
          <a:xfrm>
            <a:off x="2698750" y="2788708"/>
            <a:ext cx="6480027" cy="820850"/>
            <a:chOff x="3238500" y="2635250"/>
            <a:chExt cx="7776032" cy="985020"/>
          </a:xfrm>
          <a:solidFill>
            <a:srgbClr val="EBE3DA"/>
          </a:solidFill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EC3331E4-0FB5-46A1-3506-3C709BE735B9}"/>
                </a:ext>
              </a:extLst>
            </p:cNvPr>
            <p:cNvSpPr/>
            <p:nvPr/>
          </p:nvSpPr>
          <p:spPr>
            <a:xfrm>
              <a:off x="3238500" y="2642506"/>
              <a:ext cx="7016951" cy="970508"/>
            </a:xfrm>
            <a:custGeom>
              <a:avLst/>
              <a:gdLst>
                <a:gd name="connsiteX0" fmla="*/ 6641952 w 7016951"/>
                <a:gd name="connsiteY0" fmla="*/ 782756 h 970508"/>
                <a:gd name="connsiteX1" fmla="*/ 6831722 w 7016951"/>
                <a:gd name="connsiteY1" fmla="*/ 970509 h 970508"/>
                <a:gd name="connsiteX2" fmla="*/ 7016952 w 7016951"/>
                <a:gd name="connsiteY2" fmla="*/ 913367 h 970508"/>
                <a:gd name="connsiteX3" fmla="*/ 7016952 w 7016951"/>
                <a:gd name="connsiteY3" fmla="*/ 793640 h 970508"/>
                <a:gd name="connsiteX4" fmla="*/ 6903453 w 7016951"/>
                <a:gd name="connsiteY4" fmla="*/ 825386 h 970508"/>
                <a:gd name="connsiteX5" fmla="*/ 6822642 w 7016951"/>
                <a:gd name="connsiteY5" fmla="*/ 741940 h 970508"/>
                <a:gd name="connsiteX6" fmla="*/ 6822642 w 7016951"/>
                <a:gd name="connsiteY6" fmla="*/ 412693 h 970508"/>
                <a:gd name="connsiteX7" fmla="*/ 7005148 w 7016951"/>
                <a:gd name="connsiteY7" fmla="*/ 412693 h 970508"/>
                <a:gd name="connsiteX8" fmla="*/ 7005148 w 7016951"/>
                <a:gd name="connsiteY8" fmla="*/ 285710 h 970508"/>
                <a:gd name="connsiteX9" fmla="*/ 6822642 w 7016951"/>
                <a:gd name="connsiteY9" fmla="*/ 285710 h 970508"/>
                <a:gd name="connsiteX10" fmla="*/ 6822642 w 7016951"/>
                <a:gd name="connsiteY10" fmla="*/ 101586 h 970508"/>
                <a:gd name="connsiteX11" fmla="*/ 6711867 w 7016951"/>
                <a:gd name="connsiteY11" fmla="*/ 101586 h 970508"/>
                <a:gd name="connsiteX12" fmla="*/ 6690984 w 7016951"/>
                <a:gd name="connsiteY12" fmla="*/ 192288 h 970508"/>
                <a:gd name="connsiteX13" fmla="*/ 6592012 w 7016951"/>
                <a:gd name="connsiteY13" fmla="*/ 298409 h 970508"/>
                <a:gd name="connsiteX14" fmla="*/ 6546613 w 7016951"/>
                <a:gd name="connsiteY14" fmla="*/ 305665 h 970508"/>
                <a:gd name="connsiteX15" fmla="*/ 6546613 w 7016951"/>
                <a:gd name="connsiteY15" fmla="*/ 412693 h 970508"/>
                <a:gd name="connsiteX16" fmla="*/ 6641952 w 7016951"/>
                <a:gd name="connsiteY16" fmla="*/ 412693 h 970508"/>
                <a:gd name="connsiteX17" fmla="*/ 6641952 w 7016951"/>
                <a:gd name="connsiteY17" fmla="*/ 782756 h 970508"/>
                <a:gd name="connsiteX18" fmla="*/ 6555693 w 7016951"/>
                <a:gd name="connsiteY18" fmla="*/ 285710 h 970508"/>
                <a:gd name="connsiteX19" fmla="*/ 6364107 w 7016951"/>
                <a:gd name="connsiteY19" fmla="*/ 285710 h 970508"/>
                <a:gd name="connsiteX20" fmla="*/ 6217012 w 7016951"/>
                <a:gd name="connsiteY20" fmla="*/ 482533 h 970508"/>
                <a:gd name="connsiteX21" fmla="*/ 6070826 w 7016951"/>
                <a:gd name="connsiteY21" fmla="*/ 285710 h 970508"/>
                <a:gd name="connsiteX22" fmla="*/ 5865620 w 7016951"/>
                <a:gd name="connsiteY22" fmla="*/ 285710 h 970508"/>
                <a:gd name="connsiteX23" fmla="*/ 6113501 w 7016951"/>
                <a:gd name="connsiteY23" fmla="*/ 610423 h 970508"/>
                <a:gd name="connsiteX24" fmla="*/ 5844736 w 7016951"/>
                <a:gd name="connsiteY24" fmla="*/ 952368 h 970508"/>
                <a:gd name="connsiteX25" fmla="*/ 6036322 w 7016951"/>
                <a:gd name="connsiteY25" fmla="*/ 952368 h 970508"/>
                <a:gd name="connsiteX26" fmla="*/ 6206116 w 7016951"/>
                <a:gd name="connsiteY26" fmla="*/ 730149 h 970508"/>
                <a:gd name="connsiteX27" fmla="*/ 6375911 w 7016951"/>
                <a:gd name="connsiteY27" fmla="*/ 952368 h 970508"/>
                <a:gd name="connsiteX28" fmla="*/ 6582025 w 7016951"/>
                <a:gd name="connsiteY28" fmla="*/ 952368 h 970508"/>
                <a:gd name="connsiteX29" fmla="*/ 6309628 w 7016951"/>
                <a:gd name="connsiteY29" fmla="*/ 603167 h 970508"/>
                <a:gd name="connsiteX30" fmla="*/ 6555693 w 7016951"/>
                <a:gd name="connsiteY30" fmla="*/ 285710 h 970508"/>
                <a:gd name="connsiteX31" fmla="*/ 5375305 w 7016951"/>
                <a:gd name="connsiteY31" fmla="*/ 551467 h 970508"/>
                <a:gd name="connsiteX32" fmla="*/ 5542375 w 7016951"/>
                <a:gd name="connsiteY32" fmla="*/ 399995 h 970508"/>
                <a:gd name="connsiteX33" fmla="*/ 5697642 w 7016951"/>
                <a:gd name="connsiteY33" fmla="*/ 551467 h 970508"/>
                <a:gd name="connsiteX34" fmla="*/ 5375305 w 7016951"/>
                <a:gd name="connsiteY34" fmla="*/ 551467 h 970508"/>
                <a:gd name="connsiteX35" fmla="*/ 5723065 w 7016951"/>
                <a:gd name="connsiteY35" fmla="*/ 719265 h 970508"/>
                <a:gd name="connsiteX36" fmla="*/ 5554179 w 7016951"/>
                <a:gd name="connsiteY36" fmla="*/ 832642 h 970508"/>
                <a:gd name="connsiteX37" fmla="*/ 5371673 w 7016951"/>
                <a:gd name="connsiteY37" fmla="*/ 664844 h 970508"/>
                <a:gd name="connsiteX38" fmla="*/ 5874700 w 7016951"/>
                <a:gd name="connsiteY38" fmla="*/ 664844 h 970508"/>
                <a:gd name="connsiteX39" fmla="*/ 5874700 w 7016951"/>
                <a:gd name="connsiteY39" fmla="*/ 599539 h 970508"/>
                <a:gd name="connsiteX40" fmla="*/ 5543283 w 7016951"/>
                <a:gd name="connsiteY40" fmla="*/ 267570 h 970508"/>
                <a:gd name="connsiteX41" fmla="*/ 5192799 w 7016951"/>
                <a:gd name="connsiteY41" fmla="*/ 628563 h 970508"/>
                <a:gd name="connsiteX42" fmla="*/ 5547823 w 7016951"/>
                <a:gd name="connsiteY42" fmla="*/ 969602 h 970508"/>
                <a:gd name="connsiteX43" fmla="*/ 5870160 w 7016951"/>
                <a:gd name="connsiteY43" fmla="*/ 733777 h 970508"/>
                <a:gd name="connsiteX44" fmla="*/ 5723065 w 7016951"/>
                <a:gd name="connsiteY44" fmla="*/ 719265 h 970508"/>
                <a:gd name="connsiteX45" fmla="*/ 4488198 w 7016951"/>
                <a:gd name="connsiteY45" fmla="*/ 0 h 970508"/>
                <a:gd name="connsiteX46" fmla="*/ 4300244 w 7016951"/>
                <a:gd name="connsiteY46" fmla="*/ 0 h 970508"/>
                <a:gd name="connsiteX47" fmla="*/ 4300244 w 7016951"/>
                <a:gd name="connsiteY47" fmla="*/ 951461 h 970508"/>
                <a:gd name="connsiteX48" fmla="*/ 4476394 w 7016951"/>
                <a:gd name="connsiteY48" fmla="*/ 951461 h 970508"/>
                <a:gd name="connsiteX49" fmla="*/ 4476394 w 7016951"/>
                <a:gd name="connsiteY49" fmla="*/ 280268 h 970508"/>
                <a:gd name="connsiteX50" fmla="*/ 4965801 w 7016951"/>
                <a:gd name="connsiteY50" fmla="*/ 951461 h 970508"/>
                <a:gd name="connsiteX51" fmla="*/ 5117435 w 7016951"/>
                <a:gd name="connsiteY51" fmla="*/ 951461 h 970508"/>
                <a:gd name="connsiteX52" fmla="*/ 5117435 w 7016951"/>
                <a:gd name="connsiteY52" fmla="*/ 0 h 970508"/>
                <a:gd name="connsiteX53" fmla="*/ 4941286 w 7016951"/>
                <a:gd name="connsiteY53" fmla="*/ 0 h 970508"/>
                <a:gd name="connsiteX54" fmla="*/ 4941286 w 7016951"/>
                <a:gd name="connsiteY54" fmla="*/ 634912 h 970508"/>
                <a:gd name="connsiteX55" fmla="*/ 4488198 w 7016951"/>
                <a:gd name="connsiteY55" fmla="*/ 0 h 970508"/>
                <a:gd name="connsiteX56" fmla="*/ 3385897 w 7016951"/>
                <a:gd name="connsiteY56" fmla="*/ 731963 h 970508"/>
                <a:gd name="connsiteX57" fmla="*/ 3706418 w 7016951"/>
                <a:gd name="connsiteY57" fmla="*/ 970509 h 970508"/>
                <a:gd name="connsiteX58" fmla="*/ 3997883 w 7016951"/>
                <a:gd name="connsiteY58" fmla="*/ 759174 h 970508"/>
                <a:gd name="connsiteX59" fmla="*/ 3772701 w 7016951"/>
                <a:gd name="connsiteY59" fmla="*/ 552374 h 970508"/>
                <a:gd name="connsiteX60" fmla="*/ 3645583 w 7016951"/>
                <a:gd name="connsiteY60" fmla="*/ 531512 h 970508"/>
                <a:gd name="connsiteX61" fmla="*/ 3572943 w 7016951"/>
                <a:gd name="connsiteY61" fmla="*/ 466207 h 970508"/>
                <a:gd name="connsiteX62" fmla="*/ 3680994 w 7016951"/>
                <a:gd name="connsiteY62" fmla="*/ 391832 h 970508"/>
                <a:gd name="connsiteX63" fmla="*/ 3840801 w 7016951"/>
                <a:gd name="connsiteY63" fmla="*/ 505209 h 970508"/>
                <a:gd name="connsiteX64" fmla="*/ 3991527 w 7016951"/>
                <a:gd name="connsiteY64" fmla="*/ 498860 h 970508"/>
                <a:gd name="connsiteX65" fmla="*/ 3683718 w 7016951"/>
                <a:gd name="connsiteY65" fmla="*/ 267570 h 970508"/>
                <a:gd name="connsiteX66" fmla="*/ 3405873 w 7016951"/>
                <a:gd name="connsiteY66" fmla="*/ 482533 h 970508"/>
                <a:gd name="connsiteX67" fmla="*/ 3627423 w 7016951"/>
                <a:gd name="connsiteY67" fmla="*/ 682077 h 970508"/>
                <a:gd name="connsiteX68" fmla="*/ 3733658 w 7016951"/>
                <a:gd name="connsiteY68" fmla="*/ 700217 h 970508"/>
                <a:gd name="connsiteX69" fmla="*/ 3830813 w 7016951"/>
                <a:gd name="connsiteY69" fmla="*/ 775500 h 970508"/>
                <a:gd name="connsiteX70" fmla="*/ 3709142 w 7016951"/>
                <a:gd name="connsiteY70" fmla="*/ 846247 h 970508"/>
                <a:gd name="connsiteX71" fmla="*/ 3544796 w 7016951"/>
                <a:gd name="connsiteY71" fmla="*/ 725614 h 970508"/>
                <a:gd name="connsiteX72" fmla="*/ 3385897 w 7016951"/>
                <a:gd name="connsiteY72" fmla="*/ 731963 h 970508"/>
                <a:gd name="connsiteX73" fmla="*/ 3220643 w 7016951"/>
                <a:gd name="connsiteY73" fmla="*/ 183218 h 970508"/>
                <a:gd name="connsiteX74" fmla="*/ 3313258 w 7016951"/>
                <a:gd name="connsiteY74" fmla="*/ 183218 h 970508"/>
                <a:gd name="connsiteX75" fmla="*/ 3220643 w 7016951"/>
                <a:gd name="connsiteY75" fmla="*/ 269384 h 970508"/>
                <a:gd name="connsiteX76" fmla="*/ 3220643 w 7016951"/>
                <a:gd name="connsiteY76" fmla="*/ 362807 h 970508"/>
                <a:gd name="connsiteX77" fmla="*/ 3421309 w 7016951"/>
                <a:gd name="connsiteY77" fmla="*/ 174147 h 970508"/>
                <a:gd name="connsiteX78" fmla="*/ 3421309 w 7016951"/>
                <a:gd name="connsiteY78" fmla="*/ 0 h 970508"/>
                <a:gd name="connsiteX79" fmla="*/ 3220643 w 7016951"/>
                <a:gd name="connsiteY79" fmla="*/ 0 h 970508"/>
                <a:gd name="connsiteX80" fmla="*/ 3220643 w 7016951"/>
                <a:gd name="connsiteY80" fmla="*/ 183218 h 970508"/>
                <a:gd name="connsiteX81" fmla="*/ 2809323 w 7016951"/>
                <a:gd name="connsiteY81" fmla="*/ 782756 h 970508"/>
                <a:gd name="connsiteX82" fmla="*/ 2999093 w 7016951"/>
                <a:gd name="connsiteY82" fmla="*/ 970509 h 970508"/>
                <a:gd name="connsiteX83" fmla="*/ 3184323 w 7016951"/>
                <a:gd name="connsiteY83" fmla="*/ 913367 h 970508"/>
                <a:gd name="connsiteX84" fmla="*/ 3184323 w 7016951"/>
                <a:gd name="connsiteY84" fmla="*/ 793640 h 970508"/>
                <a:gd name="connsiteX85" fmla="*/ 3070825 w 7016951"/>
                <a:gd name="connsiteY85" fmla="*/ 825386 h 970508"/>
                <a:gd name="connsiteX86" fmla="*/ 2990013 w 7016951"/>
                <a:gd name="connsiteY86" fmla="*/ 741940 h 970508"/>
                <a:gd name="connsiteX87" fmla="*/ 2990013 w 7016951"/>
                <a:gd name="connsiteY87" fmla="*/ 412693 h 970508"/>
                <a:gd name="connsiteX88" fmla="*/ 3172519 w 7016951"/>
                <a:gd name="connsiteY88" fmla="*/ 412693 h 970508"/>
                <a:gd name="connsiteX89" fmla="*/ 3172519 w 7016951"/>
                <a:gd name="connsiteY89" fmla="*/ 285710 h 970508"/>
                <a:gd name="connsiteX90" fmla="*/ 2990013 w 7016951"/>
                <a:gd name="connsiteY90" fmla="*/ 285710 h 970508"/>
                <a:gd name="connsiteX91" fmla="*/ 2990013 w 7016951"/>
                <a:gd name="connsiteY91" fmla="*/ 101586 h 970508"/>
                <a:gd name="connsiteX92" fmla="*/ 2879239 w 7016951"/>
                <a:gd name="connsiteY92" fmla="*/ 101586 h 970508"/>
                <a:gd name="connsiteX93" fmla="*/ 2858355 w 7016951"/>
                <a:gd name="connsiteY93" fmla="*/ 192288 h 970508"/>
                <a:gd name="connsiteX94" fmla="*/ 2759384 w 7016951"/>
                <a:gd name="connsiteY94" fmla="*/ 298409 h 970508"/>
                <a:gd name="connsiteX95" fmla="*/ 2713984 w 7016951"/>
                <a:gd name="connsiteY95" fmla="*/ 305665 h 970508"/>
                <a:gd name="connsiteX96" fmla="*/ 2713984 w 7016951"/>
                <a:gd name="connsiteY96" fmla="*/ 412693 h 970508"/>
                <a:gd name="connsiteX97" fmla="*/ 2809323 w 7016951"/>
                <a:gd name="connsiteY97" fmla="*/ 412693 h 970508"/>
                <a:gd name="connsiteX98" fmla="*/ 2809323 w 7016951"/>
                <a:gd name="connsiteY98" fmla="*/ 782756 h 970508"/>
                <a:gd name="connsiteX99" fmla="*/ 2649517 w 7016951"/>
                <a:gd name="connsiteY99" fmla="*/ 524256 h 970508"/>
                <a:gd name="connsiteX100" fmla="*/ 2362592 w 7016951"/>
                <a:gd name="connsiteY100" fmla="*/ 267570 h 970508"/>
                <a:gd name="connsiteX101" fmla="*/ 2057507 w 7016951"/>
                <a:gd name="connsiteY101" fmla="*/ 498860 h 970508"/>
                <a:gd name="connsiteX102" fmla="*/ 2222761 w 7016951"/>
                <a:gd name="connsiteY102" fmla="*/ 514279 h 970508"/>
                <a:gd name="connsiteX103" fmla="*/ 2355328 w 7016951"/>
                <a:gd name="connsiteY103" fmla="*/ 403623 h 970508"/>
                <a:gd name="connsiteX104" fmla="*/ 2472459 w 7016951"/>
                <a:gd name="connsiteY104" fmla="*/ 523349 h 970508"/>
                <a:gd name="connsiteX105" fmla="*/ 2472459 w 7016951"/>
                <a:gd name="connsiteY105" fmla="*/ 538768 h 970508"/>
                <a:gd name="connsiteX106" fmla="*/ 2289045 w 7016951"/>
                <a:gd name="connsiteY106" fmla="*/ 575049 h 970508"/>
                <a:gd name="connsiteX107" fmla="*/ 2033899 w 7016951"/>
                <a:gd name="connsiteY107" fmla="*/ 785477 h 970508"/>
                <a:gd name="connsiteX108" fmla="*/ 2259081 w 7016951"/>
                <a:gd name="connsiteY108" fmla="*/ 969602 h 970508"/>
                <a:gd name="connsiteX109" fmla="*/ 2486986 w 7016951"/>
                <a:gd name="connsiteY109" fmla="*/ 851689 h 970508"/>
                <a:gd name="connsiteX110" fmla="*/ 2628633 w 7016951"/>
                <a:gd name="connsiteY110" fmla="*/ 967788 h 970508"/>
                <a:gd name="connsiteX111" fmla="*/ 2754844 w 7016951"/>
                <a:gd name="connsiteY111" fmla="*/ 925158 h 970508"/>
                <a:gd name="connsiteX112" fmla="*/ 2754844 w 7016951"/>
                <a:gd name="connsiteY112" fmla="*/ 828107 h 970508"/>
                <a:gd name="connsiteX113" fmla="*/ 2698548 w 7016951"/>
                <a:gd name="connsiteY113" fmla="*/ 841712 h 970508"/>
                <a:gd name="connsiteX114" fmla="*/ 2651333 w 7016951"/>
                <a:gd name="connsiteY114" fmla="*/ 790012 h 970508"/>
                <a:gd name="connsiteX115" fmla="*/ 2651333 w 7016951"/>
                <a:gd name="connsiteY115" fmla="*/ 524256 h 970508"/>
                <a:gd name="connsiteX116" fmla="*/ 2649517 w 7016951"/>
                <a:gd name="connsiteY116" fmla="*/ 524256 h 970508"/>
                <a:gd name="connsiteX117" fmla="*/ 2471551 w 7016951"/>
                <a:gd name="connsiteY117" fmla="*/ 663937 h 970508"/>
                <a:gd name="connsiteX118" fmla="*/ 2302664 w 7016951"/>
                <a:gd name="connsiteY118" fmla="*/ 843526 h 970508"/>
                <a:gd name="connsiteX119" fmla="*/ 2210049 w 7016951"/>
                <a:gd name="connsiteY119" fmla="*/ 770965 h 970508"/>
                <a:gd name="connsiteX120" fmla="*/ 2345340 w 7016951"/>
                <a:gd name="connsiteY120" fmla="*/ 673914 h 970508"/>
                <a:gd name="connsiteX121" fmla="*/ 2471551 w 7016951"/>
                <a:gd name="connsiteY121" fmla="*/ 646703 h 970508"/>
                <a:gd name="connsiteX122" fmla="*/ 2471551 w 7016951"/>
                <a:gd name="connsiteY122" fmla="*/ 663937 h 970508"/>
                <a:gd name="connsiteX123" fmla="*/ 2471551 w 7016951"/>
                <a:gd name="connsiteY123" fmla="*/ 663937 h 970508"/>
                <a:gd name="connsiteX124" fmla="*/ 1506357 w 7016951"/>
                <a:gd name="connsiteY124" fmla="*/ 595910 h 970508"/>
                <a:gd name="connsiteX125" fmla="*/ 1657083 w 7016951"/>
                <a:gd name="connsiteY125" fmla="*/ 411786 h 970508"/>
                <a:gd name="connsiteX126" fmla="*/ 1787834 w 7016951"/>
                <a:gd name="connsiteY126" fmla="*/ 573235 h 970508"/>
                <a:gd name="connsiteX127" fmla="*/ 1787834 w 7016951"/>
                <a:gd name="connsiteY127" fmla="*/ 952368 h 970508"/>
                <a:gd name="connsiteX128" fmla="*/ 1970340 w 7016951"/>
                <a:gd name="connsiteY128" fmla="*/ 952368 h 970508"/>
                <a:gd name="connsiteX129" fmla="*/ 1970340 w 7016951"/>
                <a:gd name="connsiteY129" fmla="*/ 536954 h 970508"/>
                <a:gd name="connsiteX130" fmla="*/ 1726090 w 7016951"/>
                <a:gd name="connsiteY130" fmla="*/ 268477 h 970508"/>
                <a:gd name="connsiteX131" fmla="*/ 1507265 w 7016951"/>
                <a:gd name="connsiteY131" fmla="*/ 395460 h 970508"/>
                <a:gd name="connsiteX132" fmla="*/ 1507265 w 7016951"/>
                <a:gd name="connsiteY132" fmla="*/ 907 h 970508"/>
                <a:gd name="connsiteX133" fmla="*/ 1323850 w 7016951"/>
                <a:gd name="connsiteY133" fmla="*/ 907 h 970508"/>
                <a:gd name="connsiteX134" fmla="*/ 1323850 w 7016951"/>
                <a:gd name="connsiteY134" fmla="*/ 952368 h 970508"/>
                <a:gd name="connsiteX135" fmla="*/ 1506357 w 7016951"/>
                <a:gd name="connsiteY135" fmla="*/ 952368 h 970508"/>
                <a:gd name="connsiteX136" fmla="*/ 1506357 w 7016951"/>
                <a:gd name="connsiteY136" fmla="*/ 595910 h 970508"/>
                <a:gd name="connsiteX137" fmla="*/ 731840 w 7016951"/>
                <a:gd name="connsiteY137" fmla="*/ 0 h 970508"/>
                <a:gd name="connsiteX138" fmla="*/ 557506 w 7016951"/>
                <a:gd name="connsiteY138" fmla="*/ 0 h 970508"/>
                <a:gd name="connsiteX139" fmla="*/ 372276 w 7016951"/>
                <a:gd name="connsiteY139" fmla="*/ 699310 h 970508"/>
                <a:gd name="connsiteX140" fmla="*/ 365920 w 7016951"/>
                <a:gd name="connsiteY140" fmla="*/ 699310 h 970508"/>
                <a:gd name="connsiteX141" fmla="*/ 189770 w 7016951"/>
                <a:gd name="connsiteY141" fmla="*/ 0 h 970508"/>
                <a:gd name="connsiteX142" fmla="*/ 0 w 7016951"/>
                <a:gd name="connsiteY142" fmla="*/ 0 h 970508"/>
                <a:gd name="connsiteX143" fmla="*/ 247881 w 7016951"/>
                <a:gd name="connsiteY143" fmla="*/ 951461 h 970508"/>
                <a:gd name="connsiteX144" fmla="*/ 455811 w 7016951"/>
                <a:gd name="connsiteY144" fmla="*/ 951461 h 970508"/>
                <a:gd name="connsiteX145" fmla="*/ 638317 w 7016951"/>
                <a:gd name="connsiteY145" fmla="*/ 265756 h 970508"/>
                <a:gd name="connsiteX146" fmla="*/ 644673 w 7016951"/>
                <a:gd name="connsiteY146" fmla="*/ 265756 h 970508"/>
                <a:gd name="connsiteX147" fmla="*/ 825364 w 7016951"/>
                <a:gd name="connsiteY147" fmla="*/ 951461 h 970508"/>
                <a:gd name="connsiteX148" fmla="*/ 1035109 w 7016951"/>
                <a:gd name="connsiteY148" fmla="*/ 951461 h 970508"/>
                <a:gd name="connsiteX149" fmla="*/ 1282991 w 7016951"/>
                <a:gd name="connsiteY149" fmla="*/ 0 h 970508"/>
                <a:gd name="connsiteX150" fmla="*/ 1099577 w 7016951"/>
                <a:gd name="connsiteY150" fmla="*/ 0 h 970508"/>
                <a:gd name="connsiteX151" fmla="*/ 925243 w 7016951"/>
                <a:gd name="connsiteY151" fmla="*/ 701124 h 970508"/>
                <a:gd name="connsiteX152" fmla="*/ 918887 w 7016951"/>
                <a:gd name="connsiteY152" fmla="*/ 701124 h 970508"/>
                <a:gd name="connsiteX153" fmla="*/ 731840 w 7016951"/>
                <a:gd name="connsiteY153" fmla="*/ 0 h 97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7016951" h="970508">
                  <a:moveTo>
                    <a:pt x="6641952" y="782756"/>
                  </a:moveTo>
                  <a:cubicBezTo>
                    <a:pt x="6641952" y="925158"/>
                    <a:pt x="6728211" y="970509"/>
                    <a:pt x="6831722" y="970509"/>
                  </a:cubicBezTo>
                  <a:cubicBezTo>
                    <a:pt x="6913441" y="970509"/>
                    <a:pt x="6968829" y="949647"/>
                    <a:pt x="7016952" y="913367"/>
                  </a:cubicBezTo>
                  <a:lnTo>
                    <a:pt x="7016952" y="793640"/>
                  </a:lnTo>
                  <a:cubicBezTo>
                    <a:pt x="6977908" y="811781"/>
                    <a:pt x="6939773" y="825386"/>
                    <a:pt x="6903453" y="825386"/>
                  </a:cubicBezTo>
                  <a:cubicBezTo>
                    <a:pt x="6848974" y="825386"/>
                    <a:pt x="6822642" y="799989"/>
                    <a:pt x="6822642" y="741940"/>
                  </a:cubicBezTo>
                  <a:lnTo>
                    <a:pt x="6822642" y="412693"/>
                  </a:lnTo>
                  <a:lnTo>
                    <a:pt x="7005148" y="412693"/>
                  </a:lnTo>
                  <a:lnTo>
                    <a:pt x="7005148" y="285710"/>
                  </a:lnTo>
                  <a:lnTo>
                    <a:pt x="6822642" y="285710"/>
                  </a:lnTo>
                  <a:lnTo>
                    <a:pt x="6822642" y="101586"/>
                  </a:lnTo>
                  <a:lnTo>
                    <a:pt x="6711867" y="101586"/>
                  </a:lnTo>
                  <a:lnTo>
                    <a:pt x="6690984" y="192288"/>
                  </a:lnTo>
                  <a:cubicBezTo>
                    <a:pt x="6675548" y="253965"/>
                    <a:pt x="6657388" y="287525"/>
                    <a:pt x="6592012" y="298409"/>
                  </a:cubicBezTo>
                  <a:lnTo>
                    <a:pt x="6546613" y="305665"/>
                  </a:lnTo>
                  <a:lnTo>
                    <a:pt x="6546613" y="412693"/>
                  </a:lnTo>
                  <a:lnTo>
                    <a:pt x="6641952" y="412693"/>
                  </a:lnTo>
                  <a:lnTo>
                    <a:pt x="6641952" y="782756"/>
                  </a:lnTo>
                  <a:close/>
                  <a:moveTo>
                    <a:pt x="6555693" y="285710"/>
                  </a:moveTo>
                  <a:lnTo>
                    <a:pt x="6364107" y="285710"/>
                  </a:lnTo>
                  <a:lnTo>
                    <a:pt x="6217012" y="482533"/>
                  </a:lnTo>
                  <a:lnTo>
                    <a:pt x="6070826" y="285710"/>
                  </a:lnTo>
                  <a:lnTo>
                    <a:pt x="5865620" y="285710"/>
                  </a:lnTo>
                  <a:lnTo>
                    <a:pt x="6113501" y="610423"/>
                  </a:lnTo>
                  <a:lnTo>
                    <a:pt x="5844736" y="952368"/>
                  </a:lnTo>
                  <a:lnTo>
                    <a:pt x="6036322" y="952368"/>
                  </a:lnTo>
                  <a:lnTo>
                    <a:pt x="6206116" y="730149"/>
                  </a:lnTo>
                  <a:lnTo>
                    <a:pt x="6375911" y="952368"/>
                  </a:lnTo>
                  <a:lnTo>
                    <a:pt x="6582025" y="952368"/>
                  </a:lnTo>
                  <a:lnTo>
                    <a:pt x="6309628" y="603167"/>
                  </a:lnTo>
                  <a:lnTo>
                    <a:pt x="6555693" y="285710"/>
                  </a:lnTo>
                  <a:close/>
                  <a:moveTo>
                    <a:pt x="5375305" y="551467"/>
                  </a:moveTo>
                  <a:cubicBezTo>
                    <a:pt x="5391649" y="468021"/>
                    <a:pt x="5442496" y="399995"/>
                    <a:pt x="5542375" y="399995"/>
                  </a:cubicBezTo>
                  <a:cubicBezTo>
                    <a:pt x="5644070" y="399995"/>
                    <a:pt x="5691286" y="474370"/>
                    <a:pt x="5697642" y="551467"/>
                  </a:cubicBezTo>
                  <a:lnTo>
                    <a:pt x="5375305" y="551467"/>
                  </a:lnTo>
                  <a:close/>
                  <a:moveTo>
                    <a:pt x="5723065" y="719265"/>
                  </a:moveTo>
                  <a:cubicBezTo>
                    <a:pt x="5697642" y="794547"/>
                    <a:pt x="5644070" y="832642"/>
                    <a:pt x="5554179" y="832642"/>
                  </a:cubicBezTo>
                  <a:cubicBezTo>
                    <a:pt x="5455208" y="832642"/>
                    <a:pt x="5378029" y="762802"/>
                    <a:pt x="5371673" y="664844"/>
                  </a:cubicBezTo>
                  <a:lnTo>
                    <a:pt x="5874700" y="664844"/>
                  </a:lnTo>
                  <a:lnTo>
                    <a:pt x="5874700" y="599539"/>
                  </a:lnTo>
                  <a:cubicBezTo>
                    <a:pt x="5874700" y="418135"/>
                    <a:pt x="5762109" y="267570"/>
                    <a:pt x="5543283" y="267570"/>
                  </a:cubicBezTo>
                  <a:cubicBezTo>
                    <a:pt x="5342617" y="267570"/>
                    <a:pt x="5192799" y="419042"/>
                    <a:pt x="5192799" y="628563"/>
                  </a:cubicBezTo>
                  <a:cubicBezTo>
                    <a:pt x="5192799" y="838084"/>
                    <a:pt x="5341709" y="969602"/>
                    <a:pt x="5547823" y="969602"/>
                  </a:cubicBezTo>
                  <a:cubicBezTo>
                    <a:pt x="5719434" y="969602"/>
                    <a:pt x="5834748" y="881621"/>
                    <a:pt x="5870160" y="733777"/>
                  </a:cubicBezTo>
                  <a:lnTo>
                    <a:pt x="5723065" y="719265"/>
                  </a:lnTo>
                  <a:close/>
                  <a:moveTo>
                    <a:pt x="4488198" y="0"/>
                  </a:moveTo>
                  <a:lnTo>
                    <a:pt x="4300244" y="0"/>
                  </a:lnTo>
                  <a:lnTo>
                    <a:pt x="4300244" y="951461"/>
                  </a:lnTo>
                  <a:lnTo>
                    <a:pt x="4476394" y="951461"/>
                  </a:lnTo>
                  <a:lnTo>
                    <a:pt x="4476394" y="280268"/>
                  </a:lnTo>
                  <a:lnTo>
                    <a:pt x="4965801" y="951461"/>
                  </a:lnTo>
                  <a:lnTo>
                    <a:pt x="5117435" y="951461"/>
                  </a:lnTo>
                  <a:lnTo>
                    <a:pt x="5117435" y="0"/>
                  </a:lnTo>
                  <a:lnTo>
                    <a:pt x="4941286" y="0"/>
                  </a:lnTo>
                  <a:lnTo>
                    <a:pt x="4941286" y="634912"/>
                  </a:lnTo>
                  <a:lnTo>
                    <a:pt x="4488198" y="0"/>
                  </a:lnTo>
                  <a:close/>
                  <a:moveTo>
                    <a:pt x="3385897" y="731963"/>
                  </a:moveTo>
                  <a:cubicBezTo>
                    <a:pt x="3397701" y="895226"/>
                    <a:pt x="3532084" y="970509"/>
                    <a:pt x="3706418" y="970509"/>
                  </a:cubicBezTo>
                  <a:cubicBezTo>
                    <a:pt x="3879844" y="970509"/>
                    <a:pt x="3997883" y="895226"/>
                    <a:pt x="3997883" y="759174"/>
                  </a:cubicBezTo>
                  <a:cubicBezTo>
                    <a:pt x="3997883" y="634005"/>
                    <a:pt x="3914348" y="575049"/>
                    <a:pt x="3772701" y="552374"/>
                  </a:cubicBezTo>
                  <a:lnTo>
                    <a:pt x="3645583" y="531512"/>
                  </a:lnTo>
                  <a:cubicBezTo>
                    <a:pt x="3596551" y="524256"/>
                    <a:pt x="3572943" y="502488"/>
                    <a:pt x="3572943" y="466207"/>
                  </a:cubicBezTo>
                  <a:cubicBezTo>
                    <a:pt x="3572943" y="420856"/>
                    <a:pt x="3615619" y="391832"/>
                    <a:pt x="3680994" y="391832"/>
                  </a:cubicBezTo>
                  <a:cubicBezTo>
                    <a:pt x="3776333" y="391832"/>
                    <a:pt x="3828089" y="429926"/>
                    <a:pt x="3840801" y="505209"/>
                  </a:cubicBezTo>
                  <a:lnTo>
                    <a:pt x="3991527" y="498860"/>
                  </a:lnTo>
                  <a:cubicBezTo>
                    <a:pt x="3979723" y="351016"/>
                    <a:pt x="3868948" y="267570"/>
                    <a:pt x="3683718" y="267570"/>
                  </a:cubicBezTo>
                  <a:cubicBezTo>
                    <a:pt x="3513924" y="267570"/>
                    <a:pt x="3405873" y="355551"/>
                    <a:pt x="3405873" y="482533"/>
                  </a:cubicBezTo>
                  <a:cubicBezTo>
                    <a:pt x="3405873" y="606795"/>
                    <a:pt x="3484868" y="659402"/>
                    <a:pt x="3627423" y="682077"/>
                  </a:cubicBezTo>
                  <a:lnTo>
                    <a:pt x="3733658" y="700217"/>
                  </a:lnTo>
                  <a:cubicBezTo>
                    <a:pt x="3800849" y="711102"/>
                    <a:pt x="3830813" y="730149"/>
                    <a:pt x="3830813" y="775500"/>
                  </a:cubicBezTo>
                  <a:cubicBezTo>
                    <a:pt x="3830813" y="823572"/>
                    <a:pt x="3776333" y="846247"/>
                    <a:pt x="3709142" y="846247"/>
                  </a:cubicBezTo>
                  <a:cubicBezTo>
                    <a:pt x="3616527" y="846247"/>
                    <a:pt x="3555692" y="805431"/>
                    <a:pt x="3544796" y="725614"/>
                  </a:cubicBezTo>
                  <a:lnTo>
                    <a:pt x="3385897" y="731963"/>
                  </a:lnTo>
                  <a:close/>
                  <a:moveTo>
                    <a:pt x="3220643" y="183218"/>
                  </a:moveTo>
                  <a:lnTo>
                    <a:pt x="3313258" y="183218"/>
                  </a:lnTo>
                  <a:cubicBezTo>
                    <a:pt x="3311442" y="246709"/>
                    <a:pt x="3286018" y="266663"/>
                    <a:pt x="3220643" y="269384"/>
                  </a:cubicBezTo>
                  <a:lnTo>
                    <a:pt x="3220643" y="362807"/>
                  </a:lnTo>
                  <a:cubicBezTo>
                    <a:pt x="3365014" y="360993"/>
                    <a:pt x="3421309" y="299316"/>
                    <a:pt x="3421309" y="174147"/>
                  </a:cubicBezTo>
                  <a:lnTo>
                    <a:pt x="3421309" y="0"/>
                  </a:lnTo>
                  <a:lnTo>
                    <a:pt x="3220643" y="0"/>
                  </a:lnTo>
                  <a:lnTo>
                    <a:pt x="3220643" y="183218"/>
                  </a:lnTo>
                  <a:close/>
                  <a:moveTo>
                    <a:pt x="2809323" y="782756"/>
                  </a:moveTo>
                  <a:cubicBezTo>
                    <a:pt x="2809323" y="925158"/>
                    <a:pt x="2895582" y="970509"/>
                    <a:pt x="2999093" y="970509"/>
                  </a:cubicBezTo>
                  <a:cubicBezTo>
                    <a:pt x="3080812" y="970509"/>
                    <a:pt x="3136200" y="949647"/>
                    <a:pt x="3184323" y="913367"/>
                  </a:cubicBezTo>
                  <a:lnTo>
                    <a:pt x="3184323" y="793640"/>
                  </a:lnTo>
                  <a:cubicBezTo>
                    <a:pt x="3145280" y="811781"/>
                    <a:pt x="3107144" y="825386"/>
                    <a:pt x="3070825" y="825386"/>
                  </a:cubicBezTo>
                  <a:cubicBezTo>
                    <a:pt x="3016345" y="825386"/>
                    <a:pt x="2990013" y="799989"/>
                    <a:pt x="2990013" y="741940"/>
                  </a:cubicBezTo>
                  <a:lnTo>
                    <a:pt x="2990013" y="412693"/>
                  </a:lnTo>
                  <a:lnTo>
                    <a:pt x="3172519" y="412693"/>
                  </a:lnTo>
                  <a:lnTo>
                    <a:pt x="3172519" y="285710"/>
                  </a:lnTo>
                  <a:lnTo>
                    <a:pt x="2990013" y="285710"/>
                  </a:lnTo>
                  <a:lnTo>
                    <a:pt x="2990013" y="101586"/>
                  </a:lnTo>
                  <a:lnTo>
                    <a:pt x="2879239" y="101586"/>
                  </a:lnTo>
                  <a:lnTo>
                    <a:pt x="2858355" y="192288"/>
                  </a:lnTo>
                  <a:cubicBezTo>
                    <a:pt x="2842919" y="253965"/>
                    <a:pt x="2824759" y="287525"/>
                    <a:pt x="2759384" y="298409"/>
                  </a:cubicBezTo>
                  <a:lnTo>
                    <a:pt x="2713984" y="305665"/>
                  </a:lnTo>
                  <a:lnTo>
                    <a:pt x="2713984" y="412693"/>
                  </a:lnTo>
                  <a:lnTo>
                    <a:pt x="2809323" y="412693"/>
                  </a:lnTo>
                  <a:lnTo>
                    <a:pt x="2809323" y="782756"/>
                  </a:lnTo>
                  <a:close/>
                  <a:moveTo>
                    <a:pt x="2649517" y="524256"/>
                  </a:moveTo>
                  <a:cubicBezTo>
                    <a:pt x="2649517" y="349202"/>
                    <a:pt x="2536018" y="267570"/>
                    <a:pt x="2362592" y="267570"/>
                  </a:cubicBezTo>
                  <a:cubicBezTo>
                    <a:pt x="2184626" y="267570"/>
                    <a:pt x="2080207" y="362807"/>
                    <a:pt x="2057507" y="498860"/>
                  </a:cubicBezTo>
                  <a:lnTo>
                    <a:pt x="2222761" y="514279"/>
                  </a:lnTo>
                  <a:cubicBezTo>
                    <a:pt x="2238197" y="448974"/>
                    <a:pt x="2279057" y="403623"/>
                    <a:pt x="2355328" y="403623"/>
                  </a:cubicBezTo>
                  <a:cubicBezTo>
                    <a:pt x="2432507" y="403623"/>
                    <a:pt x="2472459" y="448974"/>
                    <a:pt x="2472459" y="523349"/>
                  </a:cubicBezTo>
                  <a:lnTo>
                    <a:pt x="2472459" y="538768"/>
                  </a:lnTo>
                  <a:lnTo>
                    <a:pt x="2289045" y="575049"/>
                  </a:lnTo>
                  <a:cubicBezTo>
                    <a:pt x="2137410" y="604981"/>
                    <a:pt x="2033899" y="658495"/>
                    <a:pt x="2033899" y="785477"/>
                  </a:cubicBezTo>
                  <a:cubicBezTo>
                    <a:pt x="2033899" y="900668"/>
                    <a:pt x="2119250" y="969602"/>
                    <a:pt x="2259081" y="969602"/>
                  </a:cubicBezTo>
                  <a:cubicBezTo>
                    <a:pt x="2358052" y="969602"/>
                    <a:pt x="2448851" y="928786"/>
                    <a:pt x="2486986" y="851689"/>
                  </a:cubicBezTo>
                  <a:cubicBezTo>
                    <a:pt x="2503330" y="924251"/>
                    <a:pt x="2552362" y="967788"/>
                    <a:pt x="2628633" y="967788"/>
                  </a:cubicBezTo>
                  <a:cubicBezTo>
                    <a:pt x="2689469" y="967788"/>
                    <a:pt x="2725788" y="947833"/>
                    <a:pt x="2754844" y="925158"/>
                  </a:cubicBezTo>
                  <a:lnTo>
                    <a:pt x="2754844" y="828107"/>
                  </a:lnTo>
                  <a:cubicBezTo>
                    <a:pt x="2734868" y="837177"/>
                    <a:pt x="2716708" y="841712"/>
                    <a:pt x="2698548" y="841712"/>
                  </a:cubicBezTo>
                  <a:cubicBezTo>
                    <a:pt x="2669493" y="841712"/>
                    <a:pt x="2651333" y="825386"/>
                    <a:pt x="2651333" y="790012"/>
                  </a:cubicBezTo>
                  <a:lnTo>
                    <a:pt x="2651333" y="524256"/>
                  </a:lnTo>
                  <a:lnTo>
                    <a:pt x="2649517" y="524256"/>
                  </a:lnTo>
                  <a:close/>
                  <a:moveTo>
                    <a:pt x="2471551" y="663937"/>
                  </a:moveTo>
                  <a:cubicBezTo>
                    <a:pt x="2471551" y="770965"/>
                    <a:pt x="2398912" y="843526"/>
                    <a:pt x="2302664" y="843526"/>
                  </a:cubicBezTo>
                  <a:cubicBezTo>
                    <a:pt x="2244553" y="843526"/>
                    <a:pt x="2210049" y="816316"/>
                    <a:pt x="2210049" y="770965"/>
                  </a:cubicBezTo>
                  <a:cubicBezTo>
                    <a:pt x="2210049" y="704753"/>
                    <a:pt x="2266345" y="691147"/>
                    <a:pt x="2345340" y="673914"/>
                  </a:cubicBezTo>
                  <a:lnTo>
                    <a:pt x="2471551" y="646703"/>
                  </a:lnTo>
                  <a:lnTo>
                    <a:pt x="2471551" y="663937"/>
                  </a:lnTo>
                  <a:lnTo>
                    <a:pt x="2471551" y="663937"/>
                  </a:lnTo>
                  <a:close/>
                  <a:moveTo>
                    <a:pt x="1506357" y="595910"/>
                  </a:moveTo>
                  <a:cubicBezTo>
                    <a:pt x="1506357" y="484347"/>
                    <a:pt x="1564468" y="411786"/>
                    <a:pt x="1657083" y="411786"/>
                  </a:cubicBezTo>
                  <a:cubicBezTo>
                    <a:pt x="1746974" y="411786"/>
                    <a:pt x="1787834" y="470742"/>
                    <a:pt x="1787834" y="573235"/>
                  </a:cubicBezTo>
                  <a:lnTo>
                    <a:pt x="1787834" y="952368"/>
                  </a:lnTo>
                  <a:lnTo>
                    <a:pt x="1970340" y="952368"/>
                  </a:lnTo>
                  <a:lnTo>
                    <a:pt x="1970340" y="536954"/>
                  </a:lnTo>
                  <a:cubicBezTo>
                    <a:pt x="1970340" y="389110"/>
                    <a:pt x="1904964" y="268477"/>
                    <a:pt x="1726090" y="268477"/>
                  </a:cubicBezTo>
                  <a:cubicBezTo>
                    <a:pt x="1626211" y="268477"/>
                    <a:pt x="1540860" y="320177"/>
                    <a:pt x="1507265" y="395460"/>
                  </a:cubicBezTo>
                  <a:lnTo>
                    <a:pt x="1507265" y="907"/>
                  </a:lnTo>
                  <a:lnTo>
                    <a:pt x="1323850" y="907"/>
                  </a:lnTo>
                  <a:lnTo>
                    <a:pt x="1323850" y="952368"/>
                  </a:lnTo>
                  <a:lnTo>
                    <a:pt x="1506357" y="952368"/>
                  </a:lnTo>
                  <a:lnTo>
                    <a:pt x="1506357" y="595910"/>
                  </a:lnTo>
                  <a:close/>
                  <a:moveTo>
                    <a:pt x="731840" y="0"/>
                  </a:moveTo>
                  <a:lnTo>
                    <a:pt x="557506" y="0"/>
                  </a:lnTo>
                  <a:lnTo>
                    <a:pt x="372276" y="699310"/>
                  </a:lnTo>
                  <a:lnTo>
                    <a:pt x="365920" y="699310"/>
                  </a:lnTo>
                  <a:lnTo>
                    <a:pt x="189770" y="0"/>
                  </a:lnTo>
                  <a:lnTo>
                    <a:pt x="0" y="0"/>
                  </a:lnTo>
                  <a:lnTo>
                    <a:pt x="247881" y="951461"/>
                  </a:lnTo>
                  <a:lnTo>
                    <a:pt x="455811" y="951461"/>
                  </a:lnTo>
                  <a:lnTo>
                    <a:pt x="638317" y="265756"/>
                  </a:lnTo>
                  <a:lnTo>
                    <a:pt x="644673" y="265756"/>
                  </a:lnTo>
                  <a:lnTo>
                    <a:pt x="825364" y="951461"/>
                  </a:lnTo>
                  <a:lnTo>
                    <a:pt x="1035109" y="951461"/>
                  </a:lnTo>
                  <a:lnTo>
                    <a:pt x="1282991" y="0"/>
                  </a:lnTo>
                  <a:lnTo>
                    <a:pt x="1099577" y="0"/>
                  </a:lnTo>
                  <a:lnTo>
                    <a:pt x="925243" y="701124"/>
                  </a:lnTo>
                  <a:lnTo>
                    <a:pt x="918887" y="701124"/>
                  </a:lnTo>
                  <a:lnTo>
                    <a:pt x="731840" y="0"/>
                  </a:lnTo>
                  <a:close/>
                </a:path>
              </a:pathLst>
            </a:custGeom>
            <a:solidFill>
              <a:srgbClr val="EBE3DA"/>
            </a:solidFill>
            <a:ln w="90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4459C08B-6CB5-78C8-8F6E-36DF67C7C6E9}"/>
                </a:ext>
              </a:extLst>
            </p:cNvPr>
            <p:cNvSpPr/>
            <p:nvPr/>
          </p:nvSpPr>
          <p:spPr>
            <a:xfrm>
              <a:off x="10451577" y="2635250"/>
              <a:ext cx="562954" cy="985020"/>
            </a:xfrm>
            <a:custGeom>
              <a:avLst/>
              <a:gdLst>
                <a:gd name="connsiteX0" fmla="*/ 0 w 562954"/>
                <a:gd name="connsiteY0" fmla="*/ 0 h 985020"/>
                <a:gd name="connsiteX1" fmla="*/ 0 w 562954"/>
                <a:gd name="connsiteY1" fmla="*/ 985021 h 985020"/>
                <a:gd name="connsiteX2" fmla="*/ 562954 w 562954"/>
                <a:gd name="connsiteY2" fmla="*/ 492510 h 9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2954" h="985020">
                  <a:moveTo>
                    <a:pt x="0" y="0"/>
                  </a:moveTo>
                  <a:lnTo>
                    <a:pt x="0" y="985021"/>
                  </a:lnTo>
                  <a:lnTo>
                    <a:pt x="562954" y="492510"/>
                  </a:lnTo>
                  <a:close/>
                </a:path>
              </a:pathLst>
            </a:custGeom>
            <a:solidFill>
              <a:srgbClr val="EBE3DA"/>
            </a:solidFill>
            <a:ln w="90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  <p:grpSp>
        <p:nvGrpSpPr>
          <p:cNvPr id="4" name="Graphic 2">
            <a:extLst>
              <a:ext uri="{FF2B5EF4-FFF2-40B4-BE49-F238E27FC236}">
                <a16:creationId xmlns:a16="http://schemas.microsoft.com/office/drawing/2014/main" id="{DD405046-2C45-C148-7399-47958E5F68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886890" y="5623028"/>
            <a:ext cx="2418220" cy="3429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C0317B7-84DE-6F34-EF39-731F75FC7DC1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B35E5F63-59F2-7C54-3933-829E6E87BF68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FBD54563-FD39-25E0-871A-BCFADC2FE018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727088F-26D8-E836-1B52-14964F171AF5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735CB8F-8DF1-64BB-4926-6462B91940DF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FFB36B6-7903-AE55-3D2D-6C6B3331E791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95B7F9F3-85F3-1284-8468-9D81DC5926A8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08FE848-D4A0-3E52-6329-EF07FF8C5C42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C2F8FEFC-D515-53AC-EF4D-D061309F2B1A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274F98CE-2579-E0E9-E6FF-59821B54C351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C4F2A45-10BF-E101-8449-E5D5458A0100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43C5810-52F5-61AA-0A22-05521732C232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CAD57EE-4692-E8DB-BAE3-0AD66332649B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56931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Text 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E9EC94-FF7D-5933-11FB-4B2CE5734A05}"/>
              </a:ext>
            </a:extLst>
          </p:cNvPr>
          <p:cNvSpPr/>
          <p:nvPr userDrawn="1"/>
        </p:nvSpPr>
        <p:spPr>
          <a:xfrm>
            <a:off x="0" y="0"/>
            <a:ext cx="12192000" cy="1645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7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5000" b="1" spc="-125" baseline="0" dirty="0">
                <a:solidFill>
                  <a:schemeClr val="bg2"/>
                </a:solidFill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0" y="1789282"/>
            <a:ext cx="5406390" cy="656083"/>
          </a:xfrm>
          <a:prstGeom prst="rect">
            <a:avLst/>
          </a:prstGeom>
        </p:spPr>
        <p:txBody>
          <a:bodyPr bIns="0" anchor="b">
            <a:noAutofit/>
          </a:bodyPr>
          <a:lstStyle>
            <a:lvl1pPr marL="0" indent="0" algn="l">
              <a:buNone/>
              <a:defRPr sz="2667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2481360"/>
            <a:ext cx="5406390" cy="3372187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F5A0249-DF93-F3AA-D46D-1CCA96CE93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50" y="244377"/>
            <a:ext cx="11239500" cy="37390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" b="0" i="1" kern="1200" spc="-83" baseline="0">
                <a:solidFill>
                  <a:schemeClr val="bg2"/>
                </a:solidFill>
                <a:latin typeface="Century Schoolbook" panose="02040604050505020304" pitchFamily="18" charset="0"/>
                <a:cs typeface="Arial"/>
              </a:defRPr>
            </a:lvl1pPr>
          </a:lstStyle>
          <a:p>
            <a:pPr lvl="0"/>
            <a:r>
              <a:rPr lang="en-US"/>
              <a:t>Section Name Her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A5D2D40-9A08-7781-B8C4-A2FDA5C1FE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3170" y="1789282"/>
            <a:ext cx="5406390" cy="656083"/>
          </a:xfrm>
          <a:prstGeom prst="rect">
            <a:avLst/>
          </a:prstGeom>
        </p:spPr>
        <p:txBody>
          <a:bodyPr bIns="0" anchor="b">
            <a:noAutofit/>
          </a:bodyPr>
          <a:lstStyle>
            <a:lvl1pPr marL="0" indent="0" algn="l">
              <a:buNone/>
              <a:defRPr sz="2667" b="1" i="0" kern="1200" spc="-8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olumn Header Goes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EB8EBE43-D0E1-C12C-AF8A-0522E7065A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3170" y="2481359"/>
            <a:ext cx="5406390" cy="3372188"/>
          </a:xfrm>
          <a:prstGeom prst="rect">
            <a:avLst/>
          </a:prstGeom>
        </p:spPr>
        <p:txBody>
          <a:bodyPr vert="horz" lIns="91440" tIns="45720" rIns="91440" bIns="45720" numCol="1" spcCol="274320" rtlCol="0">
            <a:normAutofit/>
          </a:bodyPr>
          <a:lstStyle>
            <a:lvl1pPr>
              <a:defRPr lang="en-US" spc="-42" baseline="0" dirty="0"/>
            </a:lvl1pPr>
          </a:lstStyle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r>
              <a:rPr lang="en-US"/>
              <a:t>Bullet point goes here</a:t>
            </a:r>
          </a:p>
          <a:p>
            <a:pPr marL="167633" lvl="0" indent="-167633">
              <a:spcAft>
                <a:spcPts val="1167"/>
              </a:spcAft>
              <a:buFont typeface="System Font Regular"/>
              <a:buChar char="‣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410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Presenters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DC1C180-7B94-E015-4FD2-63A9F05F39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4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62050D-FCEF-F146-AC64-DE4D24F41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250" y="1783178"/>
            <a:ext cx="1663835" cy="166383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E56CF7-DB3B-A3BA-55D9-0AB1D162EE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24822" y="2196096"/>
            <a:ext cx="3496360" cy="470339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0D9BD34-F3AA-9024-4009-53B046FBA5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822" y="2676234"/>
            <a:ext cx="3496360" cy="110639"/>
          </a:xfrm>
        </p:spPr>
        <p:txBody>
          <a:bodyPr anchor="ctr">
            <a:noAutofit/>
          </a:bodyPr>
          <a:lstStyle>
            <a:lvl1pPr marL="0" indent="0">
              <a:buNone/>
              <a:defRPr sz="917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70F450-5BB9-7627-A5CF-071CB4744A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24822" y="2798296"/>
            <a:ext cx="3496360" cy="467549"/>
          </a:xfrm>
        </p:spPr>
        <p:txBody>
          <a:bodyPr anchor="t">
            <a:noAutofit/>
          </a:bodyPr>
          <a:lstStyle>
            <a:lvl1pPr marL="0" indent="0">
              <a:buNone/>
              <a:defRPr sz="1333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8AF07A8-31B3-204D-8585-25E1D280D03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0313" y="1783178"/>
            <a:ext cx="1663835" cy="166383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D239DF3-D1CB-BF34-C29E-529CB2CEA6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8884" y="2196096"/>
            <a:ext cx="3496360" cy="470339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7551EC8-7F6B-E1F3-E9B7-638E25AFB9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8884" y="2676234"/>
            <a:ext cx="3496360" cy="110639"/>
          </a:xfrm>
        </p:spPr>
        <p:txBody>
          <a:bodyPr anchor="ctr">
            <a:noAutofit/>
          </a:bodyPr>
          <a:lstStyle>
            <a:lvl1pPr marL="0" indent="0">
              <a:buNone/>
              <a:defRPr sz="917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8572675-4F41-7A58-E3A4-7D7E0196C77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8884" y="2798296"/>
            <a:ext cx="3496360" cy="467549"/>
          </a:xfrm>
        </p:spPr>
        <p:txBody>
          <a:bodyPr anchor="t">
            <a:noAutofit/>
          </a:bodyPr>
          <a:lstStyle>
            <a:lvl1pPr marL="0" indent="0">
              <a:buNone/>
              <a:defRPr sz="1333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A20268B5-CF3A-D130-12F5-53B88627AE4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76250" y="3902491"/>
            <a:ext cx="1663835" cy="166383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9B1C303-36BC-4B4C-1BC0-A0A5DDED8C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24822" y="4315409"/>
            <a:ext cx="3496360" cy="470339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BCB49E6-0952-4D7A-EA2D-A96662D01E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24822" y="4795546"/>
            <a:ext cx="3496360" cy="110639"/>
          </a:xfrm>
        </p:spPr>
        <p:txBody>
          <a:bodyPr anchor="ctr">
            <a:noAutofit/>
          </a:bodyPr>
          <a:lstStyle>
            <a:lvl1pPr marL="0" indent="0">
              <a:buNone/>
              <a:defRPr sz="917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9DBF5BC-D776-F53F-CA2E-50A93359F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24822" y="4917608"/>
            <a:ext cx="3496360" cy="467549"/>
          </a:xfrm>
        </p:spPr>
        <p:txBody>
          <a:bodyPr anchor="t">
            <a:noAutofit/>
          </a:bodyPr>
          <a:lstStyle>
            <a:lvl1pPr marL="0" indent="0">
              <a:buNone/>
              <a:defRPr sz="1333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17E7429-223E-B0B9-3E5D-EAD09229682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310313" y="3902491"/>
            <a:ext cx="1663835" cy="166383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496C172-BE2C-0EE7-7B8F-8DFCA7F9C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58884" y="4315409"/>
            <a:ext cx="3496360" cy="470339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3FEB600-22A5-C2B4-222A-7F4EB2D103E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58884" y="4795546"/>
            <a:ext cx="3496360" cy="110639"/>
          </a:xfrm>
        </p:spPr>
        <p:txBody>
          <a:bodyPr anchor="ctr">
            <a:noAutofit/>
          </a:bodyPr>
          <a:lstStyle>
            <a:lvl1pPr marL="0" indent="0">
              <a:buNone/>
              <a:defRPr sz="917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886C406-9407-3FF3-C0D7-70F3A276FD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8884" y="4917608"/>
            <a:ext cx="3496360" cy="467549"/>
          </a:xfrm>
        </p:spPr>
        <p:txBody>
          <a:bodyPr anchor="t">
            <a:noAutofit/>
          </a:bodyPr>
          <a:lstStyle>
            <a:lvl1pPr marL="0" indent="0">
              <a:buNone/>
              <a:defRPr sz="1333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675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+ Presenters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DC1C180-7B94-E015-4FD2-63A9F05F39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644928"/>
            <a:ext cx="11239500" cy="8393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4000" b="1" spc="-125" baseline="0" dirty="0">
                <a:latin typeface="Arial"/>
              </a:defRPr>
            </a:lvl1pPr>
          </a:lstStyle>
          <a:p>
            <a:pPr marL="0" lvl="0" indent="0">
              <a:lnSpc>
                <a:spcPct val="85000"/>
              </a:lnSpc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Headline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62050D-FCEF-F146-AC64-DE4D24F41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2500" y="1507718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E56CF7-DB3B-A3BA-55D9-0AB1D162EE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250" y="2689847"/>
            <a:ext cx="2159090" cy="380868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0D9BD34-F3AA-9024-4009-53B046FBA5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6250" y="3080513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70F450-5BB9-7627-A5CF-071CB4744A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250" y="3202575"/>
            <a:ext cx="2159090" cy="347112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30076A5-C797-0F51-691A-72F56B439EF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52500" y="3752949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A31A1FD-38A2-867B-A8D0-C47D2E2199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6250" y="4936702"/>
            <a:ext cx="2159090" cy="379243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031E619-CB42-C2BC-5B5C-C7B2A6D174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6250" y="5325744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3B39DD5-0E18-4B28-D4FE-F3181C3523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6250" y="5447805"/>
            <a:ext cx="2159090" cy="351021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27AA3707-3F4D-FF5E-48F4-7324697CDAE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86335" y="1507718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226342C8-EA5F-9FCB-ED47-1343B55E6C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2954" y="2689847"/>
            <a:ext cx="2159090" cy="380868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C790CDC-4149-9DD7-B0A2-513DF46ACD4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92954" y="3080513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902031B-54A2-9BC2-5659-C2A4C5940F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92954" y="3202575"/>
            <a:ext cx="2159090" cy="347112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C3AD2705-B912-CA27-7731-814BCD0CCB0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86335" y="3752949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0CD9BDED-F20D-1A4F-A950-0C131968118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92954" y="4936702"/>
            <a:ext cx="2159090" cy="379243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6E08678-1B40-DED9-2974-71C027B4256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92954" y="5325744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4824F87-C59F-EB4E-4C23-F514A901A9D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92954" y="5447805"/>
            <a:ext cx="2159090" cy="351021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51DAB5F7-BC3B-AED5-6471-394787295FB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003039" y="1507718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99FD2E60-CCC2-9D14-AE05-D41AC004AEA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09659" y="2689847"/>
            <a:ext cx="2159090" cy="380868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404FF07-8DE3-4A97-1F40-6050F7CFE3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9659" y="3080513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20E8E04-8B31-7C8D-C6E1-C74905CACEF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09659" y="3202575"/>
            <a:ext cx="2159090" cy="347112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D529044F-4259-33D2-E312-B61A3A368B0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003039" y="3752949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D548E5B7-9988-5C1F-86E9-BC0B1C4CFEA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09659" y="4936702"/>
            <a:ext cx="2159090" cy="379243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4033EC4D-2FDC-6271-C4FF-DF4D552CAA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09659" y="5325744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005251AA-C3FC-69E4-9E28-0C1DD0FF647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09659" y="5447805"/>
            <a:ext cx="2159090" cy="351021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9C00D944-CE33-FD47-5B8F-E7D97DD86C0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0032910" y="1507718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E99C9B0-5FB5-505D-19DF-A666DFE848C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56660" y="2689847"/>
            <a:ext cx="2159090" cy="380868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B4A6345C-C213-5546-6224-3F6F1FA7D29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56660" y="3080513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37811175-151E-F864-23E2-21934235956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556660" y="3202575"/>
            <a:ext cx="2159090" cy="347112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D91A1A36-CD51-7253-F99B-86DC716158A7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0032910" y="3752949"/>
            <a:ext cx="1172331" cy="1172331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978B4A5-9600-F772-7634-186568BA26E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556660" y="4936702"/>
            <a:ext cx="2159090" cy="379243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D431368F-3793-2CBA-5314-DEA2C2C253C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556660" y="5325744"/>
            <a:ext cx="2159090" cy="110639"/>
          </a:xfrm>
        </p:spPr>
        <p:txBody>
          <a:bodyPr anchor="ctr">
            <a:noAutofit/>
          </a:bodyPr>
          <a:lstStyle>
            <a:lvl1pPr marL="0" indent="0" algn="ctr">
              <a:buNone/>
              <a:defRPr sz="875" b="0" i="1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he/Her/He/Him/They/Them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269E9EDF-A129-A0C7-7131-54BEA933A5F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556660" y="5447805"/>
            <a:ext cx="2159090" cy="351021"/>
          </a:xfrm>
        </p:spPr>
        <p:txBody>
          <a:bodyPr anchor="t">
            <a:noAutofit/>
          </a:bodyPr>
          <a:lstStyle>
            <a:lvl1pPr marL="0" indent="0" algn="ctr">
              <a:buNone/>
              <a:defRPr sz="1000" b="0" i="0" spc="-25" baseline="0">
                <a:latin typeface="Century Schoolbook" panose="02040604050505020304" pitchFamily="18" charset="0"/>
                <a:cs typeface="Arial" panose="020B0604020202020204" pitchFamily="34" charset="0"/>
              </a:defRPr>
            </a:lvl1pPr>
            <a:lvl2pPr marL="288384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2253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6329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45062" indent="0">
              <a:buNone/>
              <a:defRPr b="1" i="0" spc="-25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305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pos="73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/ Bold Quote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419425"/>
            <a:ext cx="11239500" cy="5546504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lnSpc>
                <a:spcPct val="85000"/>
              </a:lnSpc>
              <a:buNone/>
              <a:defRPr sz="7333" b="1" i="0" spc="-83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ection Divider </a:t>
            </a:r>
          </a:p>
          <a:p>
            <a:pPr lvl="0"/>
            <a:r>
              <a:rPr lang="en-US"/>
              <a:t>or Bold Quote</a:t>
            </a:r>
          </a:p>
        </p:txBody>
      </p:sp>
      <p:sp>
        <p:nvSpPr>
          <p:cNvPr id="17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accent2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709184" y="6368923"/>
            <a:ext cx="762000" cy="762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108847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>
              <a:latin typeface="Arial"/>
              <a:cs typeface="Arial"/>
            </a:endParaRPr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77028D56-01C6-0BB3-0776-D2F10B4F7B5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accent2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7631C92-50AA-39D3-A115-0222CBBFFB1D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64C2A45-0F77-7A9B-72B7-8361AD984D23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E4BA85D-C61A-8422-BCC0-8FBB061E7A3E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4B64FAE-AEB3-2169-EBD4-110321632D17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ED995A8-B893-81DE-DD5D-4BDEE4B25039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0887CCB-F955-5381-16A3-7B4B06674362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B36BA5-10D1-86C4-5070-19061786CDC0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1447A1-0796-431F-9324-B6303542EFC1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C25D23B-6017-5147-0F3B-216FCADA0FF0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9B4E8C3-5324-476D-0F90-CAC9EFE5906B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73F33E3-614D-2E10-17CB-6C222806CAB2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41A0CD6F-28A3-32AD-3210-C542474C3CBF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20CDC83-7B7E-E255-F095-CCD628A01531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/ Bold Quote Salm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6250" y="419425"/>
            <a:ext cx="11239500" cy="5546504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lnSpc>
                <a:spcPct val="85000"/>
              </a:lnSpc>
              <a:buNone/>
              <a:defRPr sz="7333" b="1" i="0" spc="-83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Section Divider </a:t>
            </a:r>
            <a:br>
              <a:rPr lang="en-US"/>
            </a:br>
            <a:r>
              <a:rPr lang="en-US"/>
              <a:t>or Bold Quote</a:t>
            </a:r>
          </a:p>
        </p:txBody>
      </p:sp>
      <p:sp>
        <p:nvSpPr>
          <p:cNvPr id="17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bg2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709184" y="6368923"/>
            <a:ext cx="762000" cy="762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108847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>
              <a:latin typeface="Arial"/>
              <a:cs typeface="Arial"/>
            </a:endParaRPr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821CF447-D3CE-DFEB-7DEE-F438551684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2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E485B37-AE3B-39D8-6467-784E4157C507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396A416-4D3E-4750-1614-2097D66CF9D4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3F24181-C3E5-E725-5468-117B44E762EF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E6D17426-3AD5-BA86-C189-64BFED141945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30A5BFE9-A9E1-DF2D-0FDA-31CC1C0B81D4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98D9CDD-1EB6-EE67-26A6-10383E92EB2F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076CC3EF-F29C-839D-C7C6-CFFCAA099CB2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DC8C80B-9BB9-1DF0-5655-50C1B2BB3A3F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087BD77-60C4-E71C-752F-E5462F4EBE5E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0F87F98-C343-28A6-7C61-224EE0116F07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7763234-9B9C-CFBE-0BC2-BF647C1026A6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5577FB43-3BD1-EF11-9018-D167F99095E6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CF9E558-D887-B47D-6AE3-556850C7D132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913915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/ Bold Quote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419424"/>
            <a:ext cx="11239500" cy="593562"/>
          </a:xfrm>
          <a:prstGeom prst="rect">
            <a:avLst/>
          </a:prstGeom>
          <a:noFill/>
        </p:spPr>
        <p:txBody>
          <a:bodyPr vert="horz" lIns="130622" tIns="65311" rIns="130622" bIns="65311">
            <a:sp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3000" b="0" i="0" kern="1200" spc="-125" baseline="0" dirty="0" smtClean="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mall Header Her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0" y="1346197"/>
            <a:ext cx="11239500" cy="4525385"/>
          </a:xfrm>
          <a:prstGeom prst="rect">
            <a:avLst/>
          </a:prstGeom>
          <a:noFill/>
        </p:spPr>
        <p:txBody>
          <a:bodyPr vert="horz" lIns="130622" tIns="65311" rIns="130622" bIns="65311" anchor="ctr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7333" b="1" i="0" kern="1200" spc="-83" baseline="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ection Divider </a:t>
            </a:r>
            <a:br>
              <a:rPr lang="en-US"/>
            </a:br>
            <a:r>
              <a:rPr lang="en-US"/>
              <a:t>or Bold Quote</a:t>
            </a:r>
          </a:p>
        </p:txBody>
      </p:sp>
      <p:sp>
        <p:nvSpPr>
          <p:cNvPr id="16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tx1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tx1"/>
              </a:solidFill>
              <a:latin typeface="Arial"/>
              <a:cs typeface="Arial"/>
            </a:endParaRPr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7639FBCF-7F92-42F7-8A7A-972864451F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tx1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30F8E4D-C70D-88A5-5E55-E3F218345BD7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4ABA5DD-CB5E-3028-C5B3-4DF566860D09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366B02D-779E-C5EB-8F44-4E357F8DE74F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C0134D2-7873-A9AC-806A-F0EB9A1FF6C0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DCBA3576-E369-CB8A-4876-63962AD63580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FFC8AA4-798B-B051-FF21-ACE4BB1EBFDF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6DC1527C-553C-E198-F01B-556C38ADAC6D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4C0CD0D-8F84-9AE2-5BA4-7FFEC599A59E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84C8B387-305B-6C29-6A1F-13FF86E90ABB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DE48DA50-0C48-7E02-45CE-AB4794B9A865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1A17CAA4-8F35-3B80-5BF2-77CF8E30C084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EE548FB0-CFE9-682E-0B16-650AB2BA724C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5018E24-3BBA-0465-F815-14FF0A2653CD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441065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/Bold Quote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0" y="419424"/>
            <a:ext cx="11239500" cy="593562"/>
          </a:xfrm>
          <a:prstGeom prst="rect">
            <a:avLst/>
          </a:prstGeom>
          <a:noFill/>
        </p:spPr>
        <p:txBody>
          <a:bodyPr vert="horz" lIns="130622" tIns="65311" rIns="130622" bIns="65311">
            <a:sp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3000" b="0" i="0" kern="1200" spc="-125" baseline="0" dirty="0" smtClean="0">
                <a:solidFill>
                  <a:schemeClr val="bg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mall Header Her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0" y="1346197"/>
            <a:ext cx="11239500" cy="4525385"/>
          </a:xfrm>
          <a:prstGeom prst="rect">
            <a:avLst/>
          </a:prstGeom>
          <a:noFill/>
        </p:spPr>
        <p:txBody>
          <a:bodyPr vert="horz" lIns="130622" tIns="65311" rIns="130622" bIns="65311" anchor="ctr">
            <a:normAutofit/>
          </a:bodyPr>
          <a:lstStyle>
            <a:lvl1pPr marL="0" indent="0" algn="l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  <a:defRPr kumimoji="0" lang="en-US" sz="7333" b="1" i="0" kern="1200" spc="-83" baseline="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None/>
            </a:pPr>
            <a:r>
              <a:rPr lang="en-US"/>
              <a:t>Section Divider </a:t>
            </a:r>
            <a:br>
              <a:rPr lang="en-US"/>
            </a:br>
            <a:r>
              <a:rPr lang="en-US"/>
              <a:t>or Bold Quote</a:t>
            </a:r>
          </a:p>
        </p:txBody>
      </p:sp>
      <p:sp>
        <p:nvSpPr>
          <p:cNvPr id="16" name="Footer Placeholder 13"/>
          <p:cNvSpPr txBox="1">
            <a:spLocks/>
          </p:cNvSpPr>
          <p:nvPr userDrawn="1"/>
        </p:nvSpPr>
        <p:spPr>
          <a:xfrm>
            <a:off x="9683750" y="6117167"/>
            <a:ext cx="2032000" cy="254000"/>
          </a:xfrm>
          <a:prstGeom prst="rect">
            <a:avLst/>
          </a:prstGeom>
        </p:spPr>
        <p:txBody>
          <a:bodyPr vert="horz" lIns="108852" tIns="54426" rIns="108852" bIns="54426"/>
          <a:lstStyle>
            <a:defPPr>
              <a:defRPr lang="en-US"/>
            </a:defPPr>
            <a:lvl1pPr marL="0" algn="ctr" defTabSz="1306220" rtl="0" eaLnBrk="1" latinLnBrk="0" hangingPunct="1">
              <a:defRPr kumimoji="0" sz="900" b="1" i="0" kern="1200">
                <a:solidFill>
                  <a:srgbClr val="FFFFFF"/>
                </a:solidFill>
                <a:latin typeface="AvenirNext LT Pro Bold"/>
                <a:ea typeface="+mn-ea"/>
                <a:cs typeface="AvenirNext LT Pro Bold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93A503-07F1-9D4A-A21D-D267F1867A67}" type="slidenum">
              <a:rPr lang="en-US" sz="750" b="1" i="0" smtClean="0">
                <a:solidFill>
                  <a:schemeClr val="bg1"/>
                </a:solidFill>
                <a:latin typeface="Arial"/>
                <a:cs typeface="Arial"/>
              </a:rPr>
              <a:pPr algn="r"/>
              <a:t>‹#›</a:t>
            </a:fld>
            <a:endParaRPr lang="en-US" sz="750" b="1" i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7B6E65CF-A238-DFD2-9D4D-09B594B7E6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bg1"/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F6011FA-E054-CEE5-D629-4C4EBDA508E3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1507C65-89E9-B4F1-2F50-8931A5E4ACC9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AE7951-0F81-D0C5-B740-E4CF6CFC0F97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55FFD90-75B5-8D8B-C35B-007F9349AC14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4604BB-07F0-BB31-1D57-DF2092F40059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149E050-D138-5D9B-52DC-B9416D67B462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762A984-3D02-C1D8-94E3-D72EF1885019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7AA2F6-A825-E210-78FB-5A13C1069419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437563E-5C91-B383-EB3D-803AE21993AE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4B270E5-DD13-1B5E-ECB9-12149B64A1F3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6BCED3D-4567-0D84-755F-9936B3AA2CD5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493929BB-270B-AAB0-A2C4-CBA1F6626487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51D5152C-55F6-E46E-22EF-7A840C2F8D81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  <p:extLst>
      <p:ext uri="{BB962C8B-B14F-4D97-AF65-F5344CB8AC3E}">
        <p14:creationId xmlns:p14="http://schemas.microsoft.com/office/powerpoint/2010/main" val="1197854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76250" y="2212543"/>
            <a:ext cx="10972271" cy="36884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5"/>
            </p:custDataLst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Placeholder 4"/>
          <p:cNvSpPr>
            <a:spLocks noGrp="1"/>
          </p:cNvSpPr>
          <p:nvPr>
            <p:ph type="title"/>
          </p:nvPr>
        </p:nvSpPr>
        <p:spPr>
          <a:xfrm>
            <a:off x="476250" y="421787"/>
            <a:ext cx="10972271" cy="10919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lvl="0" indent="0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</a:pPr>
            <a:r>
              <a:rPr lang="en-US"/>
              <a:t>Headline goes here</a:t>
            </a:r>
          </a:p>
        </p:txBody>
      </p:sp>
      <p:sp>
        <p:nvSpPr>
          <p:cNvPr id="22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0937875" y="6117167"/>
            <a:ext cx="777875" cy="254000"/>
          </a:xfrm>
          <a:prstGeom prst="rect">
            <a:avLst/>
          </a:prstGeom>
        </p:spPr>
        <p:txBody>
          <a:bodyPr vert="horz" lIns="130622" tIns="65311" rIns="130622" bIns="65311"/>
          <a:lstStyle>
            <a:lvl1pPr marL="0" algn="r" defTabSz="1088473" rtl="0" eaLnBrk="1" latinLnBrk="0" hangingPunct="1">
              <a:defRPr kumimoji="0" lang="en-US" sz="75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fld id="{EA7C8D44-3667-46F6-9772-CC52308E2A7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9D7B6FAB-9DDD-15F5-096C-ECB8DBBA07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81426" y="6118408"/>
            <a:ext cx="1343456" cy="190500"/>
            <a:chOff x="3768553" y="3043966"/>
            <a:chExt cx="5564501" cy="789038"/>
          </a:xfrm>
          <a:solidFill>
            <a:schemeClr val="tx1"/>
          </a:solidFill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3B341B3C-8798-FD2A-F894-133077EE1484}"/>
                </a:ext>
              </a:extLst>
            </p:cNvPr>
            <p:cNvSpPr/>
            <p:nvPr/>
          </p:nvSpPr>
          <p:spPr>
            <a:xfrm>
              <a:off x="7872146" y="3090127"/>
              <a:ext cx="122466" cy="122571"/>
            </a:xfrm>
            <a:custGeom>
              <a:avLst/>
              <a:gdLst>
                <a:gd name="connsiteX0" fmla="*/ 72803 w 122466"/>
                <a:gd name="connsiteY0" fmla="*/ 37810 h 122571"/>
                <a:gd name="connsiteX1" fmla="*/ 58129 w 122466"/>
                <a:gd name="connsiteY1" fmla="*/ 35327 h 122571"/>
                <a:gd name="connsiteX2" fmla="*/ 47745 w 122466"/>
                <a:gd name="connsiteY2" fmla="*/ 35327 h 122571"/>
                <a:gd name="connsiteX3" fmla="*/ 47745 w 122466"/>
                <a:gd name="connsiteY3" fmla="*/ 59480 h 122571"/>
                <a:gd name="connsiteX4" fmla="*/ 58694 w 122466"/>
                <a:gd name="connsiteY4" fmla="*/ 59480 h 122571"/>
                <a:gd name="connsiteX5" fmla="*/ 70319 w 122466"/>
                <a:gd name="connsiteY5" fmla="*/ 58013 h 122571"/>
                <a:gd name="connsiteX6" fmla="*/ 77430 w 122466"/>
                <a:gd name="connsiteY6" fmla="*/ 47516 h 122571"/>
                <a:gd name="connsiteX7" fmla="*/ 72803 w 122466"/>
                <a:gd name="connsiteY7" fmla="*/ 37810 h 122571"/>
                <a:gd name="connsiteX8" fmla="*/ 59935 w 122466"/>
                <a:gd name="connsiteY8" fmla="*/ 27088 h 122571"/>
                <a:gd name="connsiteX9" fmla="*/ 78333 w 122466"/>
                <a:gd name="connsiteY9" fmla="*/ 29458 h 122571"/>
                <a:gd name="connsiteX10" fmla="*/ 88830 w 122466"/>
                <a:gd name="connsiteY10" fmla="*/ 46501 h 122571"/>
                <a:gd name="connsiteX11" fmla="*/ 82397 w 122466"/>
                <a:gd name="connsiteY11" fmla="*/ 59818 h 122571"/>
                <a:gd name="connsiteX12" fmla="*/ 72690 w 122466"/>
                <a:gd name="connsiteY12" fmla="*/ 63092 h 122571"/>
                <a:gd name="connsiteX13" fmla="*/ 84090 w 122466"/>
                <a:gd name="connsiteY13" fmla="*/ 69638 h 122571"/>
                <a:gd name="connsiteX14" fmla="*/ 87702 w 122466"/>
                <a:gd name="connsiteY14" fmla="*/ 80134 h 122571"/>
                <a:gd name="connsiteX15" fmla="*/ 87702 w 122466"/>
                <a:gd name="connsiteY15" fmla="*/ 84987 h 122571"/>
                <a:gd name="connsiteX16" fmla="*/ 87815 w 122466"/>
                <a:gd name="connsiteY16" fmla="*/ 90066 h 122571"/>
                <a:gd name="connsiteX17" fmla="*/ 88379 w 122466"/>
                <a:gd name="connsiteY17" fmla="*/ 93565 h 122571"/>
                <a:gd name="connsiteX18" fmla="*/ 88717 w 122466"/>
                <a:gd name="connsiteY18" fmla="*/ 94355 h 122571"/>
                <a:gd name="connsiteX19" fmla="*/ 77543 w 122466"/>
                <a:gd name="connsiteY19" fmla="*/ 94355 h 122571"/>
                <a:gd name="connsiteX20" fmla="*/ 77430 w 122466"/>
                <a:gd name="connsiteY20" fmla="*/ 93678 h 122571"/>
                <a:gd name="connsiteX21" fmla="*/ 77318 w 122466"/>
                <a:gd name="connsiteY21" fmla="*/ 92888 h 122571"/>
                <a:gd name="connsiteX22" fmla="*/ 77092 w 122466"/>
                <a:gd name="connsiteY22" fmla="*/ 90744 h 122571"/>
                <a:gd name="connsiteX23" fmla="*/ 77092 w 122466"/>
                <a:gd name="connsiteY23" fmla="*/ 85439 h 122571"/>
                <a:gd name="connsiteX24" fmla="*/ 70658 w 122466"/>
                <a:gd name="connsiteY24" fmla="*/ 69976 h 122571"/>
                <a:gd name="connsiteX25" fmla="*/ 57226 w 122466"/>
                <a:gd name="connsiteY25" fmla="*/ 67719 h 122571"/>
                <a:gd name="connsiteX26" fmla="*/ 47632 w 122466"/>
                <a:gd name="connsiteY26" fmla="*/ 67719 h 122571"/>
                <a:gd name="connsiteX27" fmla="*/ 47632 w 122466"/>
                <a:gd name="connsiteY27" fmla="*/ 94355 h 122571"/>
                <a:gd name="connsiteX28" fmla="*/ 36232 w 122466"/>
                <a:gd name="connsiteY28" fmla="*/ 94355 h 122571"/>
                <a:gd name="connsiteX29" fmla="*/ 36232 w 122466"/>
                <a:gd name="connsiteY29" fmla="*/ 26975 h 122571"/>
                <a:gd name="connsiteX30" fmla="*/ 59935 w 122466"/>
                <a:gd name="connsiteY30" fmla="*/ 26975 h 122571"/>
                <a:gd name="connsiteX31" fmla="*/ 23703 w 122466"/>
                <a:gd name="connsiteY31" fmla="*/ 23815 h 122571"/>
                <a:gd name="connsiteX32" fmla="*/ 8239 w 122466"/>
                <a:gd name="connsiteY32" fmla="*/ 61173 h 122571"/>
                <a:gd name="connsiteX33" fmla="*/ 23590 w 122466"/>
                <a:gd name="connsiteY33" fmla="*/ 98757 h 122571"/>
                <a:gd name="connsiteX34" fmla="*/ 61177 w 122466"/>
                <a:gd name="connsiteY34" fmla="*/ 114332 h 122571"/>
                <a:gd name="connsiteX35" fmla="*/ 98650 w 122466"/>
                <a:gd name="connsiteY35" fmla="*/ 98757 h 122571"/>
                <a:gd name="connsiteX36" fmla="*/ 114114 w 122466"/>
                <a:gd name="connsiteY36" fmla="*/ 61173 h 122571"/>
                <a:gd name="connsiteX37" fmla="*/ 98650 w 122466"/>
                <a:gd name="connsiteY37" fmla="*/ 23815 h 122571"/>
                <a:gd name="connsiteX38" fmla="*/ 61177 w 122466"/>
                <a:gd name="connsiteY38" fmla="*/ 8239 h 122571"/>
                <a:gd name="connsiteX39" fmla="*/ 23703 w 122466"/>
                <a:gd name="connsiteY39" fmla="*/ 23815 h 122571"/>
                <a:gd name="connsiteX40" fmla="*/ 104519 w 122466"/>
                <a:gd name="connsiteY40" fmla="*/ 104513 h 122571"/>
                <a:gd name="connsiteX41" fmla="*/ 61064 w 122466"/>
                <a:gd name="connsiteY41" fmla="*/ 122571 h 122571"/>
                <a:gd name="connsiteX42" fmla="*/ 17721 w 122466"/>
                <a:gd name="connsiteY42" fmla="*/ 104513 h 122571"/>
                <a:gd name="connsiteX43" fmla="*/ 0 w 122466"/>
                <a:gd name="connsiteY43" fmla="*/ 61060 h 122571"/>
                <a:gd name="connsiteX44" fmla="*/ 17834 w 122466"/>
                <a:gd name="connsiteY44" fmla="*/ 17833 h 122571"/>
                <a:gd name="connsiteX45" fmla="*/ 61064 w 122466"/>
                <a:gd name="connsiteY45" fmla="*/ 0 h 122571"/>
                <a:gd name="connsiteX46" fmla="*/ 104519 w 122466"/>
                <a:gd name="connsiteY46" fmla="*/ 17833 h 122571"/>
                <a:gd name="connsiteX47" fmla="*/ 122467 w 122466"/>
                <a:gd name="connsiteY47" fmla="*/ 61060 h 122571"/>
                <a:gd name="connsiteX48" fmla="*/ 104519 w 122466"/>
                <a:gd name="connsiteY48" fmla="*/ 104513 h 1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22466" h="122571">
                  <a:moveTo>
                    <a:pt x="72803" y="37810"/>
                  </a:moveTo>
                  <a:cubicBezTo>
                    <a:pt x="69755" y="36230"/>
                    <a:pt x="64789" y="35327"/>
                    <a:pt x="58129" y="35327"/>
                  </a:cubicBezTo>
                  <a:lnTo>
                    <a:pt x="47745" y="35327"/>
                  </a:lnTo>
                  <a:lnTo>
                    <a:pt x="47745" y="59480"/>
                  </a:lnTo>
                  <a:lnTo>
                    <a:pt x="58694" y="59480"/>
                  </a:lnTo>
                  <a:cubicBezTo>
                    <a:pt x="63885" y="59480"/>
                    <a:pt x="67724" y="59028"/>
                    <a:pt x="70319" y="58013"/>
                  </a:cubicBezTo>
                  <a:cubicBezTo>
                    <a:pt x="75060" y="56207"/>
                    <a:pt x="77430" y="52708"/>
                    <a:pt x="77430" y="47516"/>
                  </a:cubicBezTo>
                  <a:cubicBezTo>
                    <a:pt x="77430" y="42889"/>
                    <a:pt x="75850" y="39503"/>
                    <a:pt x="72803" y="37810"/>
                  </a:cubicBezTo>
                  <a:moveTo>
                    <a:pt x="59935" y="27088"/>
                  </a:moveTo>
                  <a:cubicBezTo>
                    <a:pt x="68288" y="27088"/>
                    <a:pt x="74383" y="27878"/>
                    <a:pt x="78333" y="29458"/>
                  </a:cubicBezTo>
                  <a:cubicBezTo>
                    <a:pt x="85331" y="32392"/>
                    <a:pt x="88830" y="38036"/>
                    <a:pt x="88830" y="46501"/>
                  </a:cubicBezTo>
                  <a:cubicBezTo>
                    <a:pt x="88830" y="52595"/>
                    <a:pt x="86686" y="56997"/>
                    <a:pt x="82397" y="59818"/>
                  </a:cubicBezTo>
                  <a:cubicBezTo>
                    <a:pt x="80026" y="61399"/>
                    <a:pt x="76866" y="62527"/>
                    <a:pt x="72690" y="63092"/>
                  </a:cubicBezTo>
                  <a:cubicBezTo>
                    <a:pt x="77882" y="63882"/>
                    <a:pt x="81720" y="66139"/>
                    <a:pt x="84090" y="69638"/>
                  </a:cubicBezTo>
                  <a:cubicBezTo>
                    <a:pt x="86460" y="73249"/>
                    <a:pt x="87702" y="76748"/>
                    <a:pt x="87702" y="80134"/>
                  </a:cubicBezTo>
                  <a:lnTo>
                    <a:pt x="87702" y="84987"/>
                  </a:lnTo>
                  <a:cubicBezTo>
                    <a:pt x="87702" y="86568"/>
                    <a:pt x="87702" y="88261"/>
                    <a:pt x="87815" y="90066"/>
                  </a:cubicBezTo>
                  <a:cubicBezTo>
                    <a:pt x="87815" y="91759"/>
                    <a:pt x="88153" y="93001"/>
                    <a:pt x="88379" y="93565"/>
                  </a:cubicBezTo>
                  <a:lnTo>
                    <a:pt x="88717" y="94355"/>
                  </a:lnTo>
                  <a:lnTo>
                    <a:pt x="77543" y="94355"/>
                  </a:lnTo>
                  <a:cubicBezTo>
                    <a:pt x="77543" y="94129"/>
                    <a:pt x="77430" y="93904"/>
                    <a:pt x="77430" y="93678"/>
                  </a:cubicBezTo>
                  <a:cubicBezTo>
                    <a:pt x="77430" y="93452"/>
                    <a:pt x="77318" y="93227"/>
                    <a:pt x="77318" y="92888"/>
                  </a:cubicBezTo>
                  <a:lnTo>
                    <a:pt x="77092" y="90744"/>
                  </a:lnTo>
                  <a:lnTo>
                    <a:pt x="77092" y="85439"/>
                  </a:lnTo>
                  <a:cubicBezTo>
                    <a:pt x="77092" y="77538"/>
                    <a:pt x="74834" y="72459"/>
                    <a:pt x="70658" y="69976"/>
                  </a:cubicBezTo>
                  <a:cubicBezTo>
                    <a:pt x="68062" y="68509"/>
                    <a:pt x="63660" y="67719"/>
                    <a:pt x="57226" y="67719"/>
                  </a:cubicBezTo>
                  <a:lnTo>
                    <a:pt x="47632" y="67719"/>
                  </a:lnTo>
                  <a:lnTo>
                    <a:pt x="47632" y="94355"/>
                  </a:lnTo>
                  <a:lnTo>
                    <a:pt x="36232" y="94355"/>
                  </a:lnTo>
                  <a:lnTo>
                    <a:pt x="36232" y="26975"/>
                  </a:lnTo>
                  <a:lnTo>
                    <a:pt x="59935" y="26975"/>
                  </a:lnTo>
                  <a:close/>
                  <a:moveTo>
                    <a:pt x="23703" y="23815"/>
                  </a:moveTo>
                  <a:cubicBezTo>
                    <a:pt x="13432" y="34085"/>
                    <a:pt x="8239" y="46501"/>
                    <a:pt x="8239" y="61173"/>
                  </a:cubicBezTo>
                  <a:cubicBezTo>
                    <a:pt x="8239" y="75845"/>
                    <a:pt x="13319" y="88373"/>
                    <a:pt x="23590" y="98757"/>
                  </a:cubicBezTo>
                  <a:cubicBezTo>
                    <a:pt x="33862" y="109141"/>
                    <a:pt x="46390" y="114332"/>
                    <a:pt x="61177" y="114332"/>
                  </a:cubicBezTo>
                  <a:cubicBezTo>
                    <a:pt x="75850" y="114332"/>
                    <a:pt x="88379" y="109141"/>
                    <a:pt x="98650" y="98757"/>
                  </a:cubicBezTo>
                  <a:cubicBezTo>
                    <a:pt x="108922" y="88373"/>
                    <a:pt x="114114" y="75845"/>
                    <a:pt x="114114" y="61173"/>
                  </a:cubicBezTo>
                  <a:cubicBezTo>
                    <a:pt x="114114" y="46613"/>
                    <a:pt x="108922" y="34085"/>
                    <a:pt x="98650" y="23815"/>
                  </a:cubicBezTo>
                  <a:cubicBezTo>
                    <a:pt x="88266" y="13431"/>
                    <a:pt x="75737" y="8239"/>
                    <a:pt x="61177" y="8239"/>
                  </a:cubicBezTo>
                  <a:cubicBezTo>
                    <a:pt x="46616" y="8239"/>
                    <a:pt x="34087" y="13431"/>
                    <a:pt x="23703" y="23815"/>
                  </a:cubicBezTo>
                  <a:moveTo>
                    <a:pt x="104519" y="104513"/>
                  </a:moveTo>
                  <a:cubicBezTo>
                    <a:pt x="92555" y="116477"/>
                    <a:pt x="77994" y="122571"/>
                    <a:pt x="61064" y="122571"/>
                  </a:cubicBezTo>
                  <a:cubicBezTo>
                    <a:pt x="44133" y="122571"/>
                    <a:pt x="29685" y="116477"/>
                    <a:pt x="17721" y="104513"/>
                  </a:cubicBezTo>
                  <a:cubicBezTo>
                    <a:pt x="5869" y="92549"/>
                    <a:pt x="0" y="78103"/>
                    <a:pt x="0" y="61060"/>
                  </a:cubicBezTo>
                  <a:cubicBezTo>
                    <a:pt x="0" y="44243"/>
                    <a:pt x="5982" y="29909"/>
                    <a:pt x="17834" y="17833"/>
                  </a:cubicBezTo>
                  <a:cubicBezTo>
                    <a:pt x="29798" y="5982"/>
                    <a:pt x="44133" y="0"/>
                    <a:pt x="61064" y="0"/>
                  </a:cubicBezTo>
                  <a:cubicBezTo>
                    <a:pt x="77994" y="0"/>
                    <a:pt x="92555" y="5982"/>
                    <a:pt x="104519" y="17833"/>
                  </a:cubicBezTo>
                  <a:cubicBezTo>
                    <a:pt x="116484" y="29796"/>
                    <a:pt x="122467" y="44130"/>
                    <a:pt x="122467" y="61060"/>
                  </a:cubicBezTo>
                  <a:cubicBezTo>
                    <a:pt x="122467" y="77990"/>
                    <a:pt x="116484" y="92437"/>
                    <a:pt x="104519" y="104513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CDAA6154-65DA-8795-AAC5-0A3C7745A805}"/>
                </a:ext>
              </a:extLst>
            </p:cNvPr>
            <p:cNvSpPr/>
            <p:nvPr/>
          </p:nvSpPr>
          <p:spPr>
            <a:xfrm>
              <a:off x="3768553" y="3186401"/>
              <a:ext cx="527791" cy="616016"/>
            </a:xfrm>
            <a:custGeom>
              <a:avLst/>
              <a:gdLst>
                <a:gd name="connsiteX0" fmla="*/ 330829 w 527791"/>
                <a:gd name="connsiteY0" fmla="*/ 0 h 616016"/>
                <a:gd name="connsiteX1" fmla="*/ 214006 w 527791"/>
                <a:gd name="connsiteY1" fmla="*/ 42099 h 616016"/>
                <a:gd name="connsiteX2" fmla="*/ 209717 w 527791"/>
                <a:gd name="connsiteY2" fmla="*/ 39728 h 616016"/>
                <a:gd name="connsiteX3" fmla="*/ 209717 w 527791"/>
                <a:gd name="connsiteY3" fmla="*/ 4515 h 616016"/>
                <a:gd name="connsiteX4" fmla="*/ 205428 w 527791"/>
                <a:gd name="connsiteY4" fmla="*/ 1242 h 616016"/>
                <a:gd name="connsiteX5" fmla="*/ 3951 w 527791"/>
                <a:gd name="connsiteY5" fmla="*/ 53047 h 616016"/>
                <a:gd name="connsiteX6" fmla="*/ 113 w 527791"/>
                <a:gd name="connsiteY6" fmla="*/ 57900 h 616016"/>
                <a:gd name="connsiteX7" fmla="*/ 113 w 527791"/>
                <a:gd name="connsiteY7" fmla="*/ 105642 h 616016"/>
                <a:gd name="connsiteX8" fmla="*/ 4289 w 527791"/>
                <a:gd name="connsiteY8" fmla="*/ 108915 h 616016"/>
                <a:gd name="connsiteX9" fmla="*/ 29573 w 527791"/>
                <a:gd name="connsiteY9" fmla="*/ 102594 h 616016"/>
                <a:gd name="connsiteX10" fmla="*/ 33749 w 527791"/>
                <a:gd name="connsiteY10" fmla="*/ 105867 h 616016"/>
                <a:gd name="connsiteX11" fmla="*/ 33749 w 527791"/>
                <a:gd name="connsiteY11" fmla="*/ 555070 h 616016"/>
                <a:gd name="connsiteX12" fmla="*/ 28670 w 527791"/>
                <a:gd name="connsiteY12" fmla="*/ 560149 h 616016"/>
                <a:gd name="connsiteX13" fmla="*/ 5079 w 527791"/>
                <a:gd name="connsiteY13" fmla="*/ 560149 h 616016"/>
                <a:gd name="connsiteX14" fmla="*/ 0 w 527791"/>
                <a:gd name="connsiteY14" fmla="*/ 565227 h 616016"/>
                <a:gd name="connsiteX15" fmla="*/ 0 w 527791"/>
                <a:gd name="connsiteY15" fmla="*/ 610938 h 616016"/>
                <a:gd name="connsiteX16" fmla="*/ 5079 w 527791"/>
                <a:gd name="connsiteY16" fmla="*/ 616017 h 616016"/>
                <a:gd name="connsiteX17" fmla="*/ 266943 w 527791"/>
                <a:gd name="connsiteY17" fmla="*/ 616017 h 616016"/>
                <a:gd name="connsiteX18" fmla="*/ 272023 w 527791"/>
                <a:gd name="connsiteY18" fmla="*/ 610938 h 616016"/>
                <a:gd name="connsiteX19" fmla="*/ 272023 w 527791"/>
                <a:gd name="connsiteY19" fmla="*/ 565227 h 616016"/>
                <a:gd name="connsiteX20" fmla="*/ 266943 w 527791"/>
                <a:gd name="connsiteY20" fmla="*/ 560149 h 616016"/>
                <a:gd name="connsiteX21" fmla="*/ 214684 w 527791"/>
                <a:gd name="connsiteY21" fmla="*/ 560149 h 616016"/>
                <a:gd name="connsiteX22" fmla="*/ 209604 w 527791"/>
                <a:gd name="connsiteY22" fmla="*/ 555070 h 616016"/>
                <a:gd name="connsiteX23" fmla="*/ 209604 w 527791"/>
                <a:gd name="connsiteY23" fmla="*/ 471888 h 616016"/>
                <a:gd name="connsiteX24" fmla="*/ 213668 w 527791"/>
                <a:gd name="connsiteY24" fmla="*/ 469405 h 616016"/>
                <a:gd name="connsiteX25" fmla="*/ 302837 w 527791"/>
                <a:gd name="connsiteY25" fmla="*/ 485545 h 616016"/>
                <a:gd name="connsiteX26" fmla="*/ 527792 w 527791"/>
                <a:gd name="connsiteY26" fmla="*/ 222682 h 616016"/>
                <a:gd name="connsiteX27" fmla="*/ 330829 w 527791"/>
                <a:gd name="connsiteY27" fmla="*/ 0 h 616016"/>
                <a:gd name="connsiteX28" fmla="*/ 269201 w 527791"/>
                <a:gd name="connsiteY28" fmla="*/ 414779 h 616016"/>
                <a:gd name="connsiteX29" fmla="*/ 209604 w 527791"/>
                <a:gd name="connsiteY29" fmla="*/ 339272 h 616016"/>
                <a:gd name="connsiteX30" fmla="*/ 209604 w 527791"/>
                <a:gd name="connsiteY30" fmla="*/ 109028 h 616016"/>
                <a:gd name="connsiteX31" fmla="*/ 214345 w 527791"/>
                <a:gd name="connsiteY31" fmla="*/ 102594 h 616016"/>
                <a:gd name="connsiteX32" fmla="*/ 237484 w 527791"/>
                <a:gd name="connsiteY32" fmla="*/ 98757 h 616016"/>
                <a:gd name="connsiteX33" fmla="*/ 351824 w 527791"/>
                <a:gd name="connsiteY33" fmla="*/ 274939 h 616016"/>
                <a:gd name="connsiteX34" fmla="*/ 269201 w 527791"/>
                <a:gd name="connsiteY34" fmla="*/ 414779 h 6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7791" h="616016">
                  <a:moveTo>
                    <a:pt x="330829" y="0"/>
                  </a:moveTo>
                  <a:cubicBezTo>
                    <a:pt x="290308" y="0"/>
                    <a:pt x="259042" y="15011"/>
                    <a:pt x="214006" y="42099"/>
                  </a:cubicBezTo>
                  <a:cubicBezTo>
                    <a:pt x="211636" y="43566"/>
                    <a:pt x="209717" y="42437"/>
                    <a:pt x="209717" y="39728"/>
                  </a:cubicBezTo>
                  <a:lnTo>
                    <a:pt x="209717" y="4515"/>
                  </a:lnTo>
                  <a:cubicBezTo>
                    <a:pt x="209717" y="2370"/>
                    <a:pt x="207685" y="677"/>
                    <a:pt x="205428" y="1242"/>
                  </a:cubicBezTo>
                  <a:lnTo>
                    <a:pt x="3951" y="53047"/>
                  </a:lnTo>
                  <a:cubicBezTo>
                    <a:pt x="1693" y="53611"/>
                    <a:pt x="113" y="55642"/>
                    <a:pt x="113" y="57900"/>
                  </a:cubicBezTo>
                  <a:lnTo>
                    <a:pt x="113" y="105642"/>
                  </a:lnTo>
                  <a:cubicBezTo>
                    <a:pt x="113" y="107899"/>
                    <a:pt x="2145" y="109479"/>
                    <a:pt x="4289" y="108915"/>
                  </a:cubicBezTo>
                  <a:lnTo>
                    <a:pt x="29573" y="102594"/>
                  </a:lnTo>
                  <a:cubicBezTo>
                    <a:pt x="31717" y="102143"/>
                    <a:pt x="33749" y="103723"/>
                    <a:pt x="33749" y="105867"/>
                  </a:cubicBezTo>
                  <a:lnTo>
                    <a:pt x="33749" y="555070"/>
                  </a:lnTo>
                  <a:cubicBezTo>
                    <a:pt x="33749" y="557891"/>
                    <a:pt x="31491" y="560149"/>
                    <a:pt x="28670" y="560149"/>
                  </a:cubicBezTo>
                  <a:lnTo>
                    <a:pt x="5079" y="560149"/>
                  </a:lnTo>
                  <a:cubicBezTo>
                    <a:pt x="2257" y="560149"/>
                    <a:pt x="0" y="562406"/>
                    <a:pt x="0" y="565227"/>
                  </a:cubicBezTo>
                  <a:lnTo>
                    <a:pt x="0" y="610938"/>
                  </a:lnTo>
                  <a:cubicBezTo>
                    <a:pt x="0" y="613759"/>
                    <a:pt x="2257" y="616017"/>
                    <a:pt x="5079" y="616017"/>
                  </a:cubicBezTo>
                  <a:lnTo>
                    <a:pt x="266943" y="616017"/>
                  </a:lnTo>
                  <a:cubicBezTo>
                    <a:pt x="269765" y="616017"/>
                    <a:pt x="272023" y="613759"/>
                    <a:pt x="272023" y="610938"/>
                  </a:cubicBezTo>
                  <a:lnTo>
                    <a:pt x="272023" y="565227"/>
                  </a:lnTo>
                  <a:cubicBezTo>
                    <a:pt x="272023" y="562406"/>
                    <a:pt x="269765" y="560149"/>
                    <a:pt x="266943" y="560149"/>
                  </a:cubicBezTo>
                  <a:lnTo>
                    <a:pt x="214684" y="560149"/>
                  </a:lnTo>
                  <a:cubicBezTo>
                    <a:pt x="211862" y="560149"/>
                    <a:pt x="209604" y="557891"/>
                    <a:pt x="209604" y="555070"/>
                  </a:cubicBezTo>
                  <a:lnTo>
                    <a:pt x="209604" y="471888"/>
                  </a:lnTo>
                  <a:cubicBezTo>
                    <a:pt x="209604" y="469857"/>
                    <a:pt x="211749" y="468502"/>
                    <a:pt x="213668" y="469405"/>
                  </a:cubicBezTo>
                  <a:cubicBezTo>
                    <a:pt x="240757" y="482497"/>
                    <a:pt x="277441" y="485545"/>
                    <a:pt x="302837" y="485545"/>
                  </a:cubicBezTo>
                  <a:cubicBezTo>
                    <a:pt x="445056" y="485545"/>
                    <a:pt x="527792" y="354057"/>
                    <a:pt x="527792" y="222682"/>
                  </a:cubicBezTo>
                  <a:cubicBezTo>
                    <a:pt x="527792" y="89389"/>
                    <a:pt x="441331" y="0"/>
                    <a:pt x="330829" y="0"/>
                  </a:cubicBezTo>
                  <a:moveTo>
                    <a:pt x="269201" y="414779"/>
                  </a:moveTo>
                  <a:cubicBezTo>
                    <a:pt x="223036" y="414779"/>
                    <a:pt x="209604" y="380242"/>
                    <a:pt x="209604" y="339272"/>
                  </a:cubicBezTo>
                  <a:lnTo>
                    <a:pt x="209604" y="109028"/>
                  </a:lnTo>
                  <a:cubicBezTo>
                    <a:pt x="209604" y="106093"/>
                    <a:pt x="211523" y="103497"/>
                    <a:pt x="214345" y="102594"/>
                  </a:cubicBezTo>
                  <a:cubicBezTo>
                    <a:pt x="221230" y="100337"/>
                    <a:pt x="229131" y="98757"/>
                    <a:pt x="237484" y="98757"/>
                  </a:cubicBezTo>
                  <a:cubicBezTo>
                    <a:pt x="267169" y="98757"/>
                    <a:pt x="351824" y="107109"/>
                    <a:pt x="351824" y="274939"/>
                  </a:cubicBezTo>
                  <a:cubicBezTo>
                    <a:pt x="351937" y="379339"/>
                    <a:pt x="326879" y="414779"/>
                    <a:pt x="269201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16AE418-E3C1-8F80-5C3B-952A7D16B61E}"/>
                </a:ext>
              </a:extLst>
            </p:cNvPr>
            <p:cNvSpPr/>
            <p:nvPr/>
          </p:nvSpPr>
          <p:spPr>
            <a:xfrm>
              <a:off x="4296007" y="3164946"/>
              <a:ext cx="493139" cy="506887"/>
            </a:xfrm>
            <a:custGeom>
              <a:avLst/>
              <a:gdLst>
                <a:gd name="connsiteX0" fmla="*/ 462439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2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741 w 493139"/>
                <a:gd name="connsiteY9" fmla="*/ 151814 h 506887"/>
                <a:gd name="connsiteX10" fmla="*/ 112985 w 493139"/>
                <a:gd name="connsiteY10" fmla="*/ 170211 h 506887"/>
                <a:gd name="connsiteX11" fmla="*/ 118629 w 493139"/>
                <a:gd name="connsiteY11" fmla="*/ 168631 h 506887"/>
                <a:gd name="connsiteX12" fmla="*/ 223036 w 493139"/>
                <a:gd name="connsiteY12" fmla="*/ 117955 h 506887"/>
                <a:gd name="connsiteX13" fmla="*/ 286470 w 493139"/>
                <a:gd name="connsiteY13" fmla="*/ 172243 h 506887"/>
                <a:gd name="connsiteX14" fmla="*/ 286470 w 493139"/>
                <a:gd name="connsiteY14" fmla="*/ 188947 h 506887"/>
                <a:gd name="connsiteX15" fmla="*/ 283197 w 493139"/>
                <a:gd name="connsiteY15" fmla="*/ 192333 h 506887"/>
                <a:gd name="connsiteX16" fmla="*/ 150910 w 493139"/>
                <a:gd name="connsiteY16" fmla="*/ 195719 h 506887"/>
                <a:gd name="connsiteX17" fmla="*/ 0 w 493139"/>
                <a:gd name="connsiteY17" fmla="*/ 365242 h 506887"/>
                <a:gd name="connsiteX18" fmla="*/ 152942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6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470 w 493139"/>
                <a:gd name="connsiteY30" fmla="*/ 340863 h 506887"/>
                <a:gd name="connsiteX31" fmla="*/ 233646 w 493139"/>
                <a:gd name="connsiteY31" fmla="*/ 408920 h 506887"/>
                <a:gd name="connsiteX32" fmla="*/ 175968 w 493139"/>
                <a:gd name="connsiteY32" fmla="*/ 331495 h 506887"/>
                <a:gd name="connsiteX33" fmla="*/ 258591 w 493139"/>
                <a:gd name="connsiteY33" fmla="*/ 251361 h 506887"/>
                <a:gd name="connsiteX34" fmla="*/ 283084 w 493139"/>
                <a:gd name="connsiteY34" fmla="*/ 251361 h 506887"/>
                <a:gd name="connsiteX35" fmla="*/ 286470 w 493139"/>
                <a:gd name="connsiteY35" fmla="*/ 254747 h 506887"/>
                <a:gd name="connsiteX36" fmla="*/ 286470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439" y="175854"/>
                  </a:moveTo>
                  <a:cubicBezTo>
                    <a:pt x="462439" y="65924"/>
                    <a:pt x="391329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2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19" y="150911"/>
                    <a:pt x="61741" y="151814"/>
                  </a:cubicBezTo>
                  <a:lnTo>
                    <a:pt x="112985" y="170211"/>
                  </a:lnTo>
                  <a:cubicBezTo>
                    <a:pt x="115017" y="170889"/>
                    <a:pt x="117275" y="170211"/>
                    <a:pt x="118629" y="168631"/>
                  </a:cubicBezTo>
                  <a:cubicBezTo>
                    <a:pt x="145606" y="135336"/>
                    <a:pt x="171340" y="117955"/>
                    <a:pt x="223036" y="117955"/>
                  </a:cubicBezTo>
                  <a:cubicBezTo>
                    <a:pt x="265363" y="117955"/>
                    <a:pt x="286470" y="133981"/>
                    <a:pt x="286470" y="172243"/>
                  </a:cubicBezTo>
                  <a:lnTo>
                    <a:pt x="286470" y="188947"/>
                  </a:lnTo>
                  <a:cubicBezTo>
                    <a:pt x="286470" y="190753"/>
                    <a:pt x="285003" y="192220"/>
                    <a:pt x="283197" y="192333"/>
                  </a:cubicBezTo>
                  <a:lnTo>
                    <a:pt x="150910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942" y="506887"/>
                  </a:cubicBezTo>
                  <a:cubicBezTo>
                    <a:pt x="202719" y="506887"/>
                    <a:pt x="241660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6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3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3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470" y="340863"/>
                  </a:moveTo>
                  <a:cubicBezTo>
                    <a:pt x="286470" y="376303"/>
                    <a:pt x="277779" y="408920"/>
                    <a:pt x="233646" y="408920"/>
                  </a:cubicBezTo>
                  <a:cubicBezTo>
                    <a:pt x="186578" y="408920"/>
                    <a:pt x="175968" y="367838"/>
                    <a:pt x="175968" y="331495"/>
                  </a:cubicBezTo>
                  <a:cubicBezTo>
                    <a:pt x="175968" y="283979"/>
                    <a:pt x="210620" y="251361"/>
                    <a:pt x="258591" y="251361"/>
                  </a:cubicBezTo>
                  <a:lnTo>
                    <a:pt x="283084" y="251361"/>
                  </a:lnTo>
                  <a:cubicBezTo>
                    <a:pt x="284890" y="251361"/>
                    <a:pt x="286470" y="252941"/>
                    <a:pt x="286470" y="254747"/>
                  </a:cubicBezTo>
                  <a:lnTo>
                    <a:pt x="286470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06ED0E8-D7E9-0559-4DB9-A024AE91B1A3}"/>
                </a:ext>
              </a:extLst>
            </p:cNvPr>
            <p:cNvSpPr/>
            <p:nvPr/>
          </p:nvSpPr>
          <p:spPr>
            <a:xfrm>
              <a:off x="5088936" y="3164946"/>
              <a:ext cx="493027" cy="506887"/>
            </a:xfrm>
            <a:custGeom>
              <a:avLst/>
              <a:gdLst>
                <a:gd name="connsiteX0" fmla="*/ 462326 w 493027"/>
                <a:gd name="connsiteY0" fmla="*/ 175854 h 506887"/>
                <a:gd name="connsiteX1" fmla="*/ 283649 w 493027"/>
                <a:gd name="connsiteY1" fmla="*/ 21117 h 506887"/>
                <a:gd name="connsiteX2" fmla="*/ 171792 w 493027"/>
                <a:gd name="connsiteY2" fmla="*/ 40981 h 506887"/>
                <a:gd name="connsiteX3" fmla="*/ 168857 w 493027"/>
                <a:gd name="connsiteY3" fmla="*/ 38159 h 506887"/>
                <a:gd name="connsiteX4" fmla="*/ 174275 w 493027"/>
                <a:gd name="connsiteY4" fmla="*/ 22245 h 506887"/>
                <a:gd name="connsiteX5" fmla="*/ 171002 w 493027"/>
                <a:gd name="connsiteY5" fmla="*/ 15812 h 506887"/>
                <a:gd name="connsiteX6" fmla="*/ 122693 w 493027"/>
                <a:gd name="connsiteY6" fmla="*/ 237 h 506887"/>
                <a:gd name="connsiteX7" fmla="*/ 116372 w 493027"/>
                <a:gd name="connsiteY7" fmla="*/ 3171 h 506887"/>
                <a:gd name="connsiteX8" fmla="*/ 58694 w 493027"/>
                <a:gd name="connsiteY8" fmla="*/ 145155 h 506887"/>
                <a:gd name="connsiteX9" fmla="*/ 61628 w 493027"/>
                <a:gd name="connsiteY9" fmla="*/ 151814 h 506887"/>
                <a:gd name="connsiteX10" fmla="*/ 112872 w 493027"/>
                <a:gd name="connsiteY10" fmla="*/ 170211 h 506887"/>
                <a:gd name="connsiteX11" fmla="*/ 118516 w 493027"/>
                <a:gd name="connsiteY11" fmla="*/ 168631 h 506887"/>
                <a:gd name="connsiteX12" fmla="*/ 222923 w 493027"/>
                <a:gd name="connsiteY12" fmla="*/ 117955 h 506887"/>
                <a:gd name="connsiteX13" fmla="*/ 286358 w 493027"/>
                <a:gd name="connsiteY13" fmla="*/ 172243 h 506887"/>
                <a:gd name="connsiteX14" fmla="*/ 286358 w 493027"/>
                <a:gd name="connsiteY14" fmla="*/ 188947 h 506887"/>
                <a:gd name="connsiteX15" fmla="*/ 283084 w 493027"/>
                <a:gd name="connsiteY15" fmla="*/ 192333 h 506887"/>
                <a:gd name="connsiteX16" fmla="*/ 150911 w 493027"/>
                <a:gd name="connsiteY16" fmla="*/ 195719 h 506887"/>
                <a:gd name="connsiteX17" fmla="*/ 0 w 493027"/>
                <a:gd name="connsiteY17" fmla="*/ 365242 h 506887"/>
                <a:gd name="connsiteX18" fmla="*/ 152830 w 493027"/>
                <a:gd name="connsiteY18" fmla="*/ 506887 h 506887"/>
                <a:gd name="connsiteX19" fmla="*/ 286132 w 493027"/>
                <a:gd name="connsiteY19" fmla="*/ 451922 h 506887"/>
                <a:gd name="connsiteX20" fmla="*/ 290647 w 493027"/>
                <a:gd name="connsiteY20" fmla="*/ 453502 h 506887"/>
                <a:gd name="connsiteX21" fmla="*/ 298774 w 493027"/>
                <a:gd name="connsiteY21" fmla="*/ 488716 h 506887"/>
                <a:gd name="connsiteX22" fmla="*/ 304304 w 493027"/>
                <a:gd name="connsiteY22" fmla="*/ 493005 h 506887"/>
                <a:gd name="connsiteX23" fmla="*/ 487948 w 493027"/>
                <a:gd name="connsiteY23" fmla="*/ 493005 h 506887"/>
                <a:gd name="connsiteX24" fmla="*/ 493027 w 493027"/>
                <a:gd name="connsiteY24" fmla="*/ 487926 h 506887"/>
                <a:gd name="connsiteX25" fmla="*/ 493027 w 493027"/>
                <a:gd name="connsiteY25" fmla="*/ 442216 h 506887"/>
                <a:gd name="connsiteX26" fmla="*/ 487948 w 493027"/>
                <a:gd name="connsiteY26" fmla="*/ 437137 h 506887"/>
                <a:gd name="connsiteX27" fmla="*/ 467405 w 493027"/>
                <a:gd name="connsiteY27" fmla="*/ 437137 h 506887"/>
                <a:gd name="connsiteX28" fmla="*/ 462326 w 493027"/>
                <a:gd name="connsiteY28" fmla="*/ 432058 h 506887"/>
                <a:gd name="connsiteX29" fmla="*/ 462326 w 493027"/>
                <a:gd name="connsiteY29" fmla="*/ 175854 h 506887"/>
                <a:gd name="connsiteX30" fmla="*/ 286358 w 493027"/>
                <a:gd name="connsiteY30" fmla="*/ 340863 h 506887"/>
                <a:gd name="connsiteX31" fmla="*/ 233533 w 493027"/>
                <a:gd name="connsiteY31" fmla="*/ 408920 h 506887"/>
                <a:gd name="connsiteX32" fmla="*/ 175855 w 493027"/>
                <a:gd name="connsiteY32" fmla="*/ 331495 h 506887"/>
                <a:gd name="connsiteX33" fmla="*/ 258478 w 493027"/>
                <a:gd name="connsiteY33" fmla="*/ 251361 h 506887"/>
                <a:gd name="connsiteX34" fmla="*/ 282972 w 493027"/>
                <a:gd name="connsiteY34" fmla="*/ 251361 h 506887"/>
                <a:gd name="connsiteX35" fmla="*/ 286358 w 493027"/>
                <a:gd name="connsiteY35" fmla="*/ 254747 h 506887"/>
                <a:gd name="connsiteX36" fmla="*/ 286358 w 493027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027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4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4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4" y="192333"/>
                  </a:cubicBezTo>
                  <a:lnTo>
                    <a:pt x="150911" y="195719"/>
                  </a:lnTo>
                  <a:cubicBezTo>
                    <a:pt x="66933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30" y="506887"/>
                  </a:cubicBezTo>
                  <a:cubicBezTo>
                    <a:pt x="202606" y="506887"/>
                    <a:pt x="241547" y="487362"/>
                    <a:pt x="286132" y="451922"/>
                  </a:cubicBezTo>
                  <a:cubicBezTo>
                    <a:pt x="287712" y="450568"/>
                    <a:pt x="290195" y="451470"/>
                    <a:pt x="290647" y="453502"/>
                  </a:cubicBezTo>
                  <a:lnTo>
                    <a:pt x="298774" y="488716"/>
                  </a:lnTo>
                  <a:cubicBezTo>
                    <a:pt x="299338" y="491199"/>
                    <a:pt x="301708" y="493005"/>
                    <a:pt x="304304" y="493005"/>
                  </a:cubicBezTo>
                  <a:lnTo>
                    <a:pt x="487948" y="493005"/>
                  </a:lnTo>
                  <a:cubicBezTo>
                    <a:pt x="490770" y="493005"/>
                    <a:pt x="493027" y="490748"/>
                    <a:pt x="493027" y="487926"/>
                  </a:cubicBezTo>
                  <a:lnTo>
                    <a:pt x="493027" y="442216"/>
                  </a:lnTo>
                  <a:cubicBezTo>
                    <a:pt x="493027" y="439394"/>
                    <a:pt x="490770" y="437137"/>
                    <a:pt x="487948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5" y="367838"/>
                    <a:pt x="175855" y="331495"/>
                  </a:cubicBezTo>
                  <a:cubicBezTo>
                    <a:pt x="175855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7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638324B-E6E2-E2CB-23ED-13225C2AD89C}"/>
                </a:ext>
              </a:extLst>
            </p:cNvPr>
            <p:cNvSpPr/>
            <p:nvPr/>
          </p:nvSpPr>
          <p:spPr>
            <a:xfrm>
              <a:off x="7433297" y="3164946"/>
              <a:ext cx="493139" cy="506887"/>
            </a:xfrm>
            <a:custGeom>
              <a:avLst/>
              <a:gdLst>
                <a:gd name="connsiteX0" fmla="*/ 462326 w 493139"/>
                <a:gd name="connsiteY0" fmla="*/ 175854 h 506887"/>
                <a:gd name="connsiteX1" fmla="*/ 283649 w 493139"/>
                <a:gd name="connsiteY1" fmla="*/ 21117 h 506887"/>
                <a:gd name="connsiteX2" fmla="*/ 171792 w 493139"/>
                <a:gd name="connsiteY2" fmla="*/ 40981 h 506887"/>
                <a:gd name="connsiteX3" fmla="*/ 168857 w 493139"/>
                <a:gd name="connsiteY3" fmla="*/ 38159 h 506887"/>
                <a:gd name="connsiteX4" fmla="*/ 174275 w 493139"/>
                <a:gd name="connsiteY4" fmla="*/ 22245 h 506887"/>
                <a:gd name="connsiteX5" fmla="*/ 171002 w 493139"/>
                <a:gd name="connsiteY5" fmla="*/ 15812 h 506887"/>
                <a:gd name="connsiteX6" fmla="*/ 122693 w 493139"/>
                <a:gd name="connsiteY6" fmla="*/ 237 h 506887"/>
                <a:gd name="connsiteX7" fmla="*/ 116372 w 493139"/>
                <a:gd name="connsiteY7" fmla="*/ 3171 h 506887"/>
                <a:gd name="connsiteX8" fmla="*/ 58694 w 493139"/>
                <a:gd name="connsiteY8" fmla="*/ 145155 h 506887"/>
                <a:gd name="connsiteX9" fmla="*/ 61628 w 493139"/>
                <a:gd name="connsiteY9" fmla="*/ 151814 h 506887"/>
                <a:gd name="connsiteX10" fmla="*/ 112872 w 493139"/>
                <a:gd name="connsiteY10" fmla="*/ 170211 h 506887"/>
                <a:gd name="connsiteX11" fmla="*/ 118516 w 493139"/>
                <a:gd name="connsiteY11" fmla="*/ 168631 h 506887"/>
                <a:gd name="connsiteX12" fmla="*/ 222923 w 493139"/>
                <a:gd name="connsiteY12" fmla="*/ 117955 h 506887"/>
                <a:gd name="connsiteX13" fmla="*/ 286358 w 493139"/>
                <a:gd name="connsiteY13" fmla="*/ 172243 h 506887"/>
                <a:gd name="connsiteX14" fmla="*/ 286358 w 493139"/>
                <a:gd name="connsiteY14" fmla="*/ 188947 h 506887"/>
                <a:gd name="connsiteX15" fmla="*/ 283085 w 493139"/>
                <a:gd name="connsiteY15" fmla="*/ 192333 h 506887"/>
                <a:gd name="connsiteX16" fmla="*/ 150911 w 493139"/>
                <a:gd name="connsiteY16" fmla="*/ 195719 h 506887"/>
                <a:gd name="connsiteX17" fmla="*/ 0 w 493139"/>
                <a:gd name="connsiteY17" fmla="*/ 365242 h 506887"/>
                <a:gd name="connsiteX18" fmla="*/ 152829 w 493139"/>
                <a:gd name="connsiteY18" fmla="*/ 506887 h 506887"/>
                <a:gd name="connsiteX19" fmla="*/ 286245 w 493139"/>
                <a:gd name="connsiteY19" fmla="*/ 451922 h 506887"/>
                <a:gd name="connsiteX20" fmla="*/ 290760 w 493139"/>
                <a:gd name="connsiteY20" fmla="*/ 453502 h 506887"/>
                <a:gd name="connsiteX21" fmla="*/ 298887 w 493139"/>
                <a:gd name="connsiteY21" fmla="*/ 488716 h 506887"/>
                <a:gd name="connsiteX22" fmla="*/ 304417 w 493139"/>
                <a:gd name="connsiteY22" fmla="*/ 493005 h 506887"/>
                <a:gd name="connsiteX23" fmla="*/ 488061 w 493139"/>
                <a:gd name="connsiteY23" fmla="*/ 493005 h 506887"/>
                <a:gd name="connsiteX24" fmla="*/ 493140 w 493139"/>
                <a:gd name="connsiteY24" fmla="*/ 487926 h 506887"/>
                <a:gd name="connsiteX25" fmla="*/ 493140 w 493139"/>
                <a:gd name="connsiteY25" fmla="*/ 442216 h 506887"/>
                <a:gd name="connsiteX26" fmla="*/ 488061 w 493139"/>
                <a:gd name="connsiteY26" fmla="*/ 437137 h 506887"/>
                <a:gd name="connsiteX27" fmla="*/ 467405 w 493139"/>
                <a:gd name="connsiteY27" fmla="*/ 437137 h 506887"/>
                <a:gd name="connsiteX28" fmla="*/ 462326 w 493139"/>
                <a:gd name="connsiteY28" fmla="*/ 432058 h 506887"/>
                <a:gd name="connsiteX29" fmla="*/ 462326 w 493139"/>
                <a:gd name="connsiteY29" fmla="*/ 175854 h 506887"/>
                <a:gd name="connsiteX30" fmla="*/ 286358 w 493139"/>
                <a:gd name="connsiteY30" fmla="*/ 340863 h 506887"/>
                <a:gd name="connsiteX31" fmla="*/ 233533 w 493139"/>
                <a:gd name="connsiteY31" fmla="*/ 408920 h 506887"/>
                <a:gd name="connsiteX32" fmla="*/ 175856 w 493139"/>
                <a:gd name="connsiteY32" fmla="*/ 331495 h 506887"/>
                <a:gd name="connsiteX33" fmla="*/ 258478 w 493139"/>
                <a:gd name="connsiteY33" fmla="*/ 251361 h 506887"/>
                <a:gd name="connsiteX34" fmla="*/ 282972 w 493139"/>
                <a:gd name="connsiteY34" fmla="*/ 251361 h 506887"/>
                <a:gd name="connsiteX35" fmla="*/ 286358 w 493139"/>
                <a:gd name="connsiteY35" fmla="*/ 254747 h 506887"/>
                <a:gd name="connsiteX36" fmla="*/ 286358 w 493139"/>
                <a:gd name="connsiteY36" fmla="*/ 340863 h 5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3139" h="506887">
                  <a:moveTo>
                    <a:pt x="462326" y="175854"/>
                  </a:moveTo>
                  <a:cubicBezTo>
                    <a:pt x="462326" y="65924"/>
                    <a:pt x="391216" y="21117"/>
                    <a:pt x="283649" y="21117"/>
                  </a:cubicBezTo>
                  <a:cubicBezTo>
                    <a:pt x="247755" y="21117"/>
                    <a:pt x="211523" y="25857"/>
                    <a:pt x="171792" y="40981"/>
                  </a:cubicBezTo>
                  <a:cubicBezTo>
                    <a:pt x="169309" y="41997"/>
                    <a:pt x="167955" y="40642"/>
                    <a:pt x="168857" y="38159"/>
                  </a:cubicBezTo>
                  <a:lnTo>
                    <a:pt x="174275" y="22245"/>
                  </a:lnTo>
                  <a:cubicBezTo>
                    <a:pt x="175178" y="19537"/>
                    <a:pt x="173711" y="16715"/>
                    <a:pt x="171002" y="15812"/>
                  </a:cubicBezTo>
                  <a:lnTo>
                    <a:pt x="122693" y="237"/>
                  </a:lnTo>
                  <a:cubicBezTo>
                    <a:pt x="120209" y="-553"/>
                    <a:pt x="117500" y="688"/>
                    <a:pt x="116372" y="3171"/>
                  </a:cubicBezTo>
                  <a:lnTo>
                    <a:pt x="58694" y="145155"/>
                  </a:lnTo>
                  <a:cubicBezTo>
                    <a:pt x="57565" y="147864"/>
                    <a:pt x="58920" y="150911"/>
                    <a:pt x="61628" y="151814"/>
                  </a:cubicBezTo>
                  <a:lnTo>
                    <a:pt x="112872" y="170211"/>
                  </a:lnTo>
                  <a:cubicBezTo>
                    <a:pt x="114905" y="170889"/>
                    <a:pt x="117162" y="170211"/>
                    <a:pt x="118516" y="168631"/>
                  </a:cubicBezTo>
                  <a:cubicBezTo>
                    <a:pt x="145493" y="135336"/>
                    <a:pt x="171228" y="117955"/>
                    <a:pt x="222923" y="117955"/>
                  </a:cubicBezTo>
                  <a:cubicBezTo>
                    <a:pt x="265250" y="117955"/>
                    <a:pt x="286358" y="133981"/>
                    <a:pt x="286358" y="172243"/>
                  </a:cubicBezTo>
                  <a:lnTo>
                    <a:pt x="286358" y="188947"/>
                  </a:lnTo>
                  <a:cubicBezTo>
                    <a:pt x="286358" y="190753"/>
                    <a:pt x="284890" y="192220"/>
                    <a:pt x="283085" y="192333"/>
                  </a:cubicBezTo>
                  <a:lnTo>
                    <a:pt x="150911" y="195719"/>
                  </a:lnTo>
                  <a:cubicBezTo>
                    <a:pt x="66934" y="197750"/>
                    <a:pt x="0" y="258359"/>
                    <a:pt x="0" y="365242"/>
                  </a:cubicBezTo>
                  <a:cubicBezTo>
                    <a:pt x="0" y="451922"/>
                    <a:pt x="65353" y="506887"/>
                    <a:pt x="152829" y="506887"/>
                  </a:cubicBezTo>
                  <a:cubicBezTo>
                    <a:pt x="202606" y="506887"/>
                    <a:pt x="241547" y="487362"/>
                    <a:pt x="286245" y="451922"/>
                  </a:cubicBezTo>
                  <a:cubicBezTo>
                    <a:pt x="287825" y="450568"/>
                    <a:pt x="290308" y="451470"/>
                    <a:pt x="290760" y="453502"/>
                  </a:cubicBezTo>
                  <a:lnTo>
                    <a:pt x="298887" y="488716"/>
                  </a:lnTo>
                  <a:cubicBezTo>
                    <a:pt x="299451" y="491199"/>
                    <a:pt x="301821" y="493005"/>
                    <a:pt x="304417" y="493005"/>
                  </a:cubicBezTo>
                  <a:lnTo>
                    <a:pt x="488061" y="493005"/>
                  </a:lnTo>
                  <a:cubicBezTo>
                    <a:pt x="490882" y="493005"/>
                    <a:pt x="493140" y="490748"/>
                    <a:pt x="493140" y="487926"/>
                  </a:cubicBezTo>
                  <a:lnTo>
                    <a:pt x="493140" y="442216"/>
                  </a:lnTo>
                  <a:cubicBezTo>
                    <a:pt x="493140" y="439394"/>
                    <a:pt x="490882" y="437137"/>
                    <a:pt x="488061" y="437137"/>
                  </a:cubicBezTo>
                  <a:lnTo>
                    <a:pt x="467405" y="437137"/>
                  </a:lnTo>
                  <a:cubicBezTo>
                    <a:pt x="464583" y="437137"/>
                    <a:pt x="462326" y="434879"/>
                    <a:pt x="462326" y="432058"/>
                  </a:cubicBezTo>
                  <a:lnTo>
                    <a:pt x="462326" y="175854"/>
                  </a:lnTo>
                  <a:close/>
                  <a:moveTo>
                    <a:pt x="286358" y="340863"/>
                  </a:moveTo>
                  <a:cubicBezTo>
                    <a:pt x="286358" y="376303"/>
                    <a:pt x="277666" y="408920"/>
                    <a:pt x="233533" y="408920"/>
                  </a:cubicBezTo>
                  <a:cubicBezTo>
                    <a:pt x="186466" y="408920"/>
                    <a:pt x="175856" y="367838"/>
                    <a:pt x="175856" y="331495"/>
                  </a:cubicBezTo>
                  <a:cubicBezTo>
                    <a:pt x="175856" y="283979"/>
                    <a:pt x="210507" y="251361"/>
                    <a:pt x="258478" y="251361"/>
                  </a:cubicBezTo>
                  <a:lnTo>
                    <a:pt x="282972" y="251361"/>
                  </a:lnTo>
                  <a:cubicBezTo>
                    <a:pt x="284778" y="251361"/>
                    <a:pt x="286358" y="252941"/>
                    <a:pt x="286358" y="254747"/>
                  </a:cubicBezTo>
                  <a:lnTo>
                    <a:pt x="286358" y="340863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02526EE-E2FB-E968-BE69-F3D3A08EB020}"/>
                </a:ext>
              </a:extLst>
            </p:cNvPr>
            <p:cNvSpPr/>
            <p:nvPr/>
          </p:nvSpPr>
          <p:spPr>
            <a:xfrm>
              <a:off x="4769620" y="3080442"/>
              <a:ext cx="315873" cy="591391"/>
            </a:xfrm>
            <a:custGeom>
              <a:avLst/>
              <a:gdLst>
                <a:gd name="connsiteX0" fmla="*/ 228002 w 315873"/>
                <a:gd name="connsiteY0" fmla="*/ 119616 h 591391"/>
                <a:gd name="connsiteX1" fmla="*/ 222923 w 315873"/>
                <a:gd name="connsiteY1" fmla="*/ 114537 h 591391"/>
                <a:gd name="connsiteX2" fmla="*/ 222923 w 315873"/>
                <a:gd name="connsiteY2" fmla="*/ 82258 h 591391"/>
                <a:gd name="connsiteX3" fmla="*/ 228905 w 315873"/>
                <a:gd name="connsiteY3" fmla="*/ 14313 h 591391"/>
                <a:gd name="connsiteX4" fmla="*/ 225294 w 315873"/>
                <a:gd name="connsiteY4" fmla="*/ 9008 h 591391"/>
                <a:gd name="connsiteX5" fmla="*/ 175968 w 315873"/>
                <a:gd name="connsiteY5" fmla="*/ 92 h 591391"/>
                <a:gd name="connsiteX6" fmla="*/ 170437 w 315873"/>
                <a:gd name="connsiteY6" fmla="*/ 3139 h 591391"/>
                <a:gd name="connsiteX7" fmla="*/ 4063 w 315873"/>
                <a:gd name="connsiteY7" fmla="*/ 139932 h 591391"/>
                <a:gd name="connsiteX8" fmla="*/ 0 w 315873"/>
                <a:gd name="connsiteY8" fmla="*/ 145349 h 591391"/>
                <a:gd name="connsiteX9" fmla="*/ 0 w 315873"/>
                <a:gd name="connsiteY9" fmla="*/ 187335 h 591391"/>
                <a:gd name="connsiteX10" fmla="*/ 5079 w 315873"/>
                <a:gd name="connsiteY10" fmla="*/ 192414 h 591391"/>
                <a:gd name="connsiteX11" fmla="*/ 41989 w 315873"/>
                <a:gd name="connsiteY11" fmla="*/ 192414 h 591391"/>
                <a:gd name="connsiteX12" fmla="*/ 47068 w 315873"/>
                <a:gd name="connsiteY12" fmla="*/ 197493 h 591391"/>
                <a:gd name="connsiteX13" fmla="*/ 47068 w 315873"/>
                <a:gd name="connsiteY13" fmla="*/ 468369 h 591391"/>
                <a:gd name="connsiteX14" fmla="*/ 168180 w 315873"/>
                <a:gd name="connsiteY14" fmla="*/ 591391 h 591391"/>
                <a:gd name="connsiteX15" fmla="*/ 313786 w 315873"/>
                <a:gd name="connsiteY15" fmla="*/ 544891 h 591391"/>
                <a:gd name="connsiteX16" fmla="*/ 315479 w 315873"/>
                <a:gd name="connsiteY16" fmla="*/ 538796 h 591391"/>
                <a:gd name="connsiteX17" fmla="*/ 296177 w 315873"/>
                <a:gd name="connsiteY17" fmla="*/ 492070 h 591391"/>
                <a:gd name="connsiteX18" fmla="*/ 291550 w 315873"/>
                <a:gd name="connsiteY18" fmla="*/ 490377 h 591391"/>
                <a:gd name="connsiteX19" fmla="*/ 262429 w 315873"/>
                <a:gd name="connsiteY19" fmla="*/ 496359 h 591391"/>
                <a:gd name="connsiteX20" fmla="*/ 222923 w 315873"/>
                <a:gd name="connsiteY20" fmla="*/ 461822 h 591391"/>
                <a:gd name="connsiteX21" fmla="*/ 222923 w 315873"/>
                <a:gd name="connsiteY21" fmla="*/ 197380 h 591391"/>
                <a:gd name="connsiteX22" fmla="*/ 228002 w 315873"/>
                <a:gd name="connsiteY22" fmla="*/ 192301 h 591391"/>
                <a:gd name="connsiteX23" fmla="*/ 289631 w 315873"/>
                <a:gd name="connsiteY23" fmla="*/ 192301 h 591391"/>
                <a:gd name="connsiteX24" fmla="*/ 294597 w 315873"/>
                <a:gd name="connsiteY24" fmla="*/ 188238 h 591391"/>
                <a:gd name="connsiteX25" fmla="*/ 307578 w 315873"/>
                <a:gd name="connsiteY25" fmla="*/ 123679 h 591391"/>
                <a:gd name="connsiteX26" fmla="*/ 304304 w 315873"/>
                <a:gd name="connsiteY26" fmla="*/ 119616 h 591391"/>
                <a:gd name="connsiteX27" fmla="*/ 228002 w 315873"/>
                <a:gd name="connsiteY27" fmla="*/ 119616 h 59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5873" h="591391">
                  <a:moveTo>
                    <a:pt x="228002" y="119616"/>
                  </a:moveTo>
                  <a:cubicBezTo>
                    <a:pt x="225181" y="119616"/>
                    <a:pt x="222923" y="117359"/>
                    <a:pt x="222923" y="114537"/>
                  </a:cubicBezTo>
                  <a:lnTo>
                    <a:pt x="222923" y="82258"/>
                  </a:lnTo>
                  <a:cubicBezTo>
                    <a:pt x="222923" y="64538"/>
                    <a:pt x="224503" y="37225"/>
                    <a:pt x="228905" y="14313"/>
                  </a:cubicBezTo>
                  <a:cubicBezTo>
                    <a:pt x="229357" y="11830"/>
                    <a:pt x="227664" y="9460"/>
                    <a:pt x="225294" y="9008"/>
                  </a:cubicBezTo>
                  <a:lnTo>
                    <a:pt x="175968" y="92"/>
                  </a:lnTo>
                  <a:cubicBezTo>
                    <a:pt x="173598" y="-359"/>
                    <a:pt x="171341" y="882"/>
                    <a:pt x="170437" y="3139"/>
                  </a:cubicBezTo>
                  <a:cubicBezTo>
                    <a:pt x="140301" y="70971"/>
                    <a:pt x="75850" y="118939"/>
                    <a:pt x="4063" y="139932"/>
                  </a:cubicBezTo>
                  <a:cubicBezTo>
                    <a:pt x="1693" y="140609"/>
                    <a:pt x="0" y="142866"/>
                    <a:pt x="0" y="145349"/>
                  </a:cubicBezTo>
                  <a:lnTo>
                    <a:pt x="0" y="187335"/>
                  </a:lnTo>
                  <a:cubicBezTo>
                    <a:pt x="0" y="190157"/>
                    <a:pt x="2257" y="192414"/>
                    <a:pt x="5079" y="192414"/>
                  </a:cubicBezTo>
                  <a:lnTo>
                    <a:pt x="41989" y="192414"/>
                  </a:lnTo>
                  <a:cubicBezTo>
                    <a:pt x="44810" y="192414"/>
                    <a:pt x="47068" y="194671"/>
                    <a:pt x="47068" y="197493"/>
                  </a:cubicBezTo>
                  <a:lnTo>
                    <a:pt x="47068" y="468369"/>
                  </a:lnTo>
                  <a:cubicBezTo>
                    <a:pt x="47068" y="549406"/>
                    <a:pt x="80817" y="591391"/>
                    <a:pt x="168180" y="591391"/>
                  </a:cubicBezTo>
                  <a:cubicBezTo>
                    <a:pt x="244030" y="591391"/>
                    <a:pt x="251706" y="589924"/>
                    <a:pt x="313786" y="544891"/>
                  </a:cubicBezTo>
                  <a:cubicBezTo>
                    <a:pt x="315704" y="543536"/>
                    <a:pt x="316382" y="541053"/>
                    <a:pt x="315479" y="538796"/>
                  </a:cubicBezTo>
                  <a:lnTo>
                    <a:pt x="296177" y="492070"/>
                  </a:lnTo>
                  <a:cubicBezTo>
                    <a:pt x="295500" y="490264"/>
                    <a:pt x="293243" y="489361"/>
                    <a:pt x="291550" y="490377"/>
                  </a:cubicBezTo>
                  <a:cubicBezTo>
                    <a:pt x="281504" y="495569"/>
                    <a:pt x="275183" y="496359"/>
                    <a:pt x="262429" y="496359"/>
                  </a:cubicBezTo>
                  <a:cubicBezTo>
                    <a:pt x="247981" y="496359"/>
                    <a:pt x="222923" y="490716"/>
                    <a:pt x="222923" y="461822"/>
                  </a:cubicBezTo>
                  <a:lnTo>
                    <a:pt x="222923" y="197380"/>
                  </a:lnTo>
                  <a:cubicBezTo>
                    <a:pt x="222923" y="194558"/>
                    <a:pt x="225181" y="192301"/>
                    <a:pt x="228002" y="192301"/>
                  </a:cubicBezTo>
                  <a:lnTo>
                    <a:pt x="289631" y="192301"/>
                  </a:lnTo>
                  <a:cubicBezTo>
                    <a:pt x="292001" y="192301"/>
                    <a:pt x="294146" y="190608"/>
                    <a:pt x="294597" y="188238"/>
                  </a:cubicBezTo>
                  <a:lnTo>
                    <a:pt x="307578" y="123679"/>
                  </a:lnTo>
                  <a:cubicBezTo>
                    <a:pt x="307916" y="121648"/>
                    <a:pt x="306336" y="119616"/>
                    <a:pt x="304304" y="119616"/>
                  </a:cubicBezTo>
                  <a:lnTo>
                    <a:pt x="228002" y="119616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6F991AB-E6EC-68C8-A4DE-2149DC14A7D6}"/>
                </a:ext>
              </a:extLst>
            </p:cNvPr>
            <p:cNvSpPr/>
            <p:nvPr/>
          </p:nvSpPr>
          <p:spPr>
            <a:xfrm>
              <a:off x="6068782" y="3186062"/>
              <a:ext cx="543029" cy="485657"/>
            </a:xfrm>
            <a:custGeom>
              <a:avLst/>
              <a:gdLst>
                <a:gd name="connsiteX0" fmla="*/ 271007 w 543029"/>
                <a:gd name="connsiteY0" fmla="*/ 0 h 485657"/>
                <a:gd name="connsiteX1" fmla="*/ 0 w 543029"/>
                <a:gd name="connsiteY1" fmla="*/ 242434 h 485657"/>
                <a:gd name="connsiteX2" fmla="*/ 271007 w 543029"/>
                <a:gd name="connsiteY2" fmla="*/ 485658 h 485657"/>
                <a:gd name="connsiteX3" fmla="*/ 543030 w 543029"/>
                <a:gd name="connsiteY3" fmla="*/ 242434 h 485657"/>
                <a:gd name="connsiteX4" fmla="*/ 271007 w 543029"/>
                <a:gd name="connsiteY4" fmla="*/ 0 h 485657"/>
                <a:gd name="connsiteX5" fmla="*/ 301708 w 543029"/>
                <a:gd name="connsiteY5" fmla="*/ 414779 h 485657"/>
                <a:gd name="connsiteX6" fmla="*/ 175855 w 543029"/>
                <a:gd name="connsiteY6" fmla="*/ 176182 h 485657"/>
                <a:gd name="connsiteX7" fmla="*/ 241208 w 543029"/>
                <a:gd name="connsiteY7" fmla="*/ 70879 h 485657"/>
                <a:gd name="connsiteX8" fmla="*/ 367061 w 543029"/>
                <a:gd name="connsiteY8" fmla="*/ 309476 h 485657"/>
                <a:gd name="connsiteX9" fmla="*/ 301708 w 543029"/>
                <a:gd name="connsiteY9" fmla="*/ 414779 h 48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029" h="485657">
                  <a:moveTo>
                    <a:pt x="271007" y="0"/>
                  </a:moveTo>
                  <a:cubicBezTo>
                    <a:pt x="118177" y="0"/>
                    <a:pt x="0" y="92211"/>
                    <a:pt x="0" y="242434"/>
                  </a:cubicBezTo>
                  <a:cubicBezTo>
                    <a:pt x="0" y="393447"/>
                    <a:pt x="118177" y="485658"/>
                    <a:pt x="271007" y="485658"/>
                  </a:cubicBezTo>
                  <a:cubicBezTo>
                    <a:pt x="424852" y="485658"/>
                    <a:pt x="543030" y="393334"/>
                    <a:pt x="543030" y="242434"/>
                  </a:cubicBezTo>
                  <a:cubicBezTo>
                    <a:pt x="543030" y="92324"/>
                    <a:pt x="424739" y="0"/>
                    <a:pt x="271007" y="0"/>
                  </a:cubicBezTo>
                  <a:moveTo>
                    <a:pt x="301708" y="414779"/>
                  </a:moveTo>
                  <a:cubicBezTo>
                    <a:pt x="204638" y="414779"/>
                    <a:pt x="175855" y="243224"/>
                    <a:pt x="175855" y="176182"/>
                  </a:cubicBezTo>
                  <a:cubicBezTo>
                    <a:pt x="175855" y="141758"/>
                    <a:pt x="175855" y="70879"/>
                    <a:pt x="241208" y="70879"/>
                  </a:cubicBezTo>
                  <a:cubicBezTo>
                    <a:pt x="338279" y="70879"/>
                    <a:pt x="367061" y="242434"/>
                    <a:pt x="367061" y="309476"/>
                  </a:cubicBezTo>
                  <a:cubicBezTo>
                    <a:pt x="367061" y="359813"/>
                    <a:pt x="353630" y="414779"/>
                    <a:pt x="301708" y="41477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E84778C-F902-24E1-7073-72F3F7076EFE}"/>
                </a:ext>
              </a:extLst>
            </p:cNvPr>
            <p:cNvSpPr/>
            <p:nvPr/>
          </p:nvSpPr>
          <p:spPr>
            <a:xfrm>
              <a:off x="6608764" y="3186062"/>
              <a:ext cx="547995" cy="471888"/>
            </a:xfrm>
            <a:custGeom>
              <a:avLst/>
              <a:gdLst>
                <a:gd name="connsiteX0" fmla="*/ 520230 w 547995"/>
                <a:gd name="connsiteY0" fmla="*/ 415794 h 471888"/>
                <a:gd name="connsiteX1" fmla="*/ 515150 w 547995"/>
                <a:gd name="connsiteY1" fmla="*/ 410716 h 471888"/>
                <a:gd name="connsiteX2" fmla="*/ 515150 w 547995"/>
                <a:gd name="connsiteY2" fmla="*/ 132391 h 471888"/>
                <a:gd name="connsiteX3" fmla="*/ 375865 w 547995"/>
                <a:gd name="connsiteY3" fmla="*/ 0 h 471888"/>
                <a:gd name="connsiteX4" fmla="*/ 216038 w 547995"/>
                <a:gd name="connsiteY4" fmla="*/ 72008 h 471888"/>
                <a:gd name="connsiteX5" fmla="*/ 211410 w 547995"/>
                <a:gd name="connsiteY5" fmla="*/ 69864 h 471888"/>
                <a:gd name="connsiteX6" fmla="*/ 211410 w 547995"/>
                <a:gd name="connsiteY6" fmla="*/ 4402 h 471888"/>
                <a:gd name="connsiteX7" fmla="*/ 207121 w 547995"/>
                <a:gd name="connsiteY7" fmla="*/ 1129 h 471888"/>
                <a:gd name="connsiteX8" fmla="*/ 3725 w 547995"/>
                <a:gd name="connsiteY8" fmla="*/ 54965 h 471888"/>
                <a:gd name="connsiteX9" fmla="*/ 0 w 547995"/>
                <a:gd name="connsiteY9" fmla="*/ 59818 h 471888"/>
                <a:gd name="connsiteX10" fmla="*/ 0 w 547995"/>
                <a:gd name="connsiteY10" fmla="*/ 106545 h 471888"/>
                <a:gd name="connsiteX11" fmla="*/ 4289 w 547995"/>
                <a:gd name="connsiteY11" fmla="*/ 109818 h 471888"/>
                <a:gd name="connsiteX12" fmla="*/ 29347 w 547995"/>
                <a:gd name="connsiteY12" fmla="*/ 102933 h 471888"/>
                <a:gd name="connsiteX13" fmla="*/ 33636 w 547995"/>
                <a:gd name="connsiteY13" fmla="*/ 106206 h 471888"/>
                <a:gd name="connsiteX14" fmla="*/ 33636 w 547995"/>
                <a:gd name="connsiteY14" fmla="*/ 410828 h 471888"/>
                <a:gd name="connsiteX15" fmla="*/ 28557 w 547995"/>
                <a:gd name="connsiteY15" fmla="*/ 415907 h 471888"/>
                <a:gd name="connsiteX16" fmla="*/ 5079 w 547995"/>
                <a:gd name="connsiteY16" fmla="*/ 415907 h 471888"/>
                <a:gd name="connsiteX17" fmla="*/ 0 w 547995"/>
                <a:gd name="connsiteY17" fmla="*/ 420986 h 471888"/>
                <a:gd name="connsiteX18" fmla="*/ 0 w 547995"/>
                <a:gd name="connsiteY18" fmla="*/ 466809 h 471888"/>
                <a:gd name="connsiteX19" fmla="*/ 5079 w 547995"/>
                <a:gd name="connsiteY19" fmla="*/ 471888 h 471888"/>
                <a:gd name="connsiteX20" fmla="*/ 241886 w 547995"/>
                <a:gd name="connsiteY20" fmla="*/ 471888 h 471888"/>
                <a:gd name="connsiteX21" fmla="*/ 246965 w 547995"/>
                <a:gd name="connsiteY21" fmla="*/ 466809 h 471888"/>
                <a:gd name="connsiteX22" fmla="*/ 246965 w 547995"/>
                <a:gd name="connsiteY22" fmla="*/ 420986 h 471888"/>
                <a:gd name="connsiteX23" fmla="*/ 241886 w 547995"/>
                <a:gd name="connsiteY23" fmla="*/ 415907 h 471888"/>
                <a:gd name="connsiteX24" fmla="*/ 214571 w 547995"/>
                <a:gd name="connsiteY24" fmla="*/ 415907 h 471888"/>
                <a:gd name="connsiteX25" fmla="*/ 209491 w 547995"/>
                <a:gd name="connsiteY25" fmla="*/ 410828 h 471888"/>
                <a:gd name="connsiteX26" fmla="*/ 209491 w 547995"/>
                <a:gd name="connsiteY26" fmla="*/ 154399 h 471888"/>
                <a:gd name="connsiteX27" fmla="*/ 212652 w 547995"/>
                <a:gd name="connsiteY27" fmla="*/ 147515 h 471888"/>
                <a:gd name="connsiteX28" fmla="*/ 288389 w 547995"/>
                <a:gd name="connsiteY28" fmla="*/ 111962 h 471888"/>
                <a:gd name="connsiteX29" fmla="*/ 339295 w 547995"/>
                <a:gd name="connsiteY29" fmla="*/ 152932 h 471888"/>
                <a:gd name="connsiteX30" fmla="*/ 339295 w 547995"/>
                <a:gd name="connsiteY30" fmla="*/ 410716 h 471888"/>
                <a:gd name="connsiteX31" fmla="*/ 334216 w 547995"/>
                <a:gd name="connsiteY31" fmla="*/ 415794 h 471888"/>
                <a:gd name="connsiteX32" fmla="*/ 307916 w 547995"/>
                <a:gd name="connsiteY32" fmla="*/ 415794 h 471888"/>
                <a:gd name="connsiteX33" fmla="*/ 302837 w 547995"/>
                <a:gd name="connsiteY33" fmla="*/ 420873 h 471888"/>
                <a:gd name="connsiteX34" fmla="*/ 302837 w 547995"/>
                <a:gd name="connsiteY34" fmla="*/ 466696 h 471888"/>
                <a:gd name="connsiteX35" fmla="*/ 307916 w 547995"/>
                <a:gd name="connsiteY35" fmla="*/ 471775 h 471888"/>
                <a:gd name="connsiteX36" fmla="*/ 542917 w 547995"/>
                <a:gd name="connsiteY36" fmla="*/ 471775 h 471888"/>
                <a:gd name="connsiteX37" fmla="*/ 547996 w 547995"/>
                <a:gd name="connsiteY37" fmla="*/ 466696 h 471888"/>
                <a:gd name="connsiteX38" fmla="*/ 547996 w 547995"/>
                <a:gd name="connsiteY38" fmla="*/ 420873 h 471888"/>
                <a:gd name="connsiteX39" fmla="*/ 542917 w 547995"/>
                <a:gd name="connsiteY39" fmla="*/ 415794 h 471888"/>
                <a:gd name="connsiteX40" fmla="*/ 520230 w 547995"/>
                <a:gd name="connsiteY40" fmla="*/ 415794 h 47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7995" h="471888">
                  <a:moveTo>
                    <a:pt x="520230" y="415794"/>
                  </a:moveTo>
                  <a:cubicBezTo>
                    <a:pt x="517408" y="415794"/>
                    <a:pt x="515150" y="413537"/>
                    <a:pt x="515150" y="410716"/>
                  </a:cubicBezTo>
                  <a:lnTo>
                    <a:pt x="515150" y="132391"/>
                  </a:lnTo>
                  <a:cubicBezTo>
                    <a:pt x="515150" y="81150"/>
                    <a:pt x="497881" y="0"/>
                    <a:pt x="375865" y="0"/>
                  </a:cubicBezTo>
                  <a:cubicBezTo>
                    <a:pt x="314463" y="0"/>
                    <a:pt x="267395" y="32392"/>
                    <a:pt x="216038" y="72008"/>
                  </a:cubicBezTo>
                  <a:cubicBezTo>
                    <a:pt x="213555" y="73927"/>
                    <a:pt x="211410" y="73024"/>
                    <a:pt x="211410" y="69864"/>
                  </a:cubicBezTo>
                  <a:lnTo>
                    <a:pt x="211410" y="4402"/>
                  </a:lnTo>
                  <a:cubicBezTo>
                    <a:pt x="211410" y="2257"/>
                    <a:pt x="209378" y="564"/>
                    <a:pt x="207121" y="1129"/>
                  </a:cubicBezTo>
                  <a:lnTo>
                    <a:pt x="3725" y="54965"/>
                  </a:lnTo>
                  <a:cubicBezTo>
                    <a:pt x="1580" y="55530"/>
                    <a:pt x="0" y="57561"/>
                    <a:pt x="0" y="59818"/>
                  </a:cubicBezTo>
                  <a:lnTo>
                    <a:pt x="0" y="106545"/>
                  </a:lnTo>
                  <a:cubicBezTo>
                    <a:pt x="0" y="108802"/>
                    <a:pt x="2145" y="110382"/>
                    <a:pt x="4289" y="109818"/>
                  </a:cubicBezTo>
                  <a:lnTo>
                    <a:pt x="29347" y="102933"/>
                  </a:lnTo>
                  <a:cubicBezTo>
                    <a:pt x="31492" y="102369"/>
                    <a:pt x="33636" y="103949"/>
                    <a:pt x="33636" y="106206"/>
                  </a:cubicBezTo>
                  <a:lnTo>
                    <a:pt x="33636" y="410828"/>
                  </a:lnTo>
                  <a:cubicBezTo>
                    <a:pt x="33636" y="413650"/>
                    <a:pt x="31379" y="415907"/>
                    <a:pt x="28557" y="415907"/>
                  </a:cubicBezTo>
                  <a:lnTo>
                    <a:pt x="5079" y="415907"/>
                  </a:lnTo>
                  <a:cubicBezTo>
                    <a:pt x="2257" y="415907"/>
                    <a:pt x="0" y="418164"/>
                    <a:pt x="0" y="420986"/>
                  </a:cubicBezTo>
                  <a:lnTo>
                    <a:pt x="0" y="466809"/>
                  </a:lnTo>
                  <a:cubicBezTo>
                    <a:pt x="0" y="469631"/>
                    <a:pt x="2257" y="471888"/>
                    <a:pt x="5079" y="471888"/>
                  </a:cubicBezTo>
                  <a:lnTo>
                    <a:pt x="241886" y="471888"/>
                  </a:lnTo>
                  <a:cubicBezTo>
                    <a:pt x="244708" y="471888"/>
                    <a:pt x="246965" y="469631"/>
                    <a:pt x="246965" y="466809"/>
                  </a:cubicBezTo>
                  <a:lnTo>
                    <a:pt x="246965" y="420986"/>
                  </a:lnTo>
                  <a:cubicBezTo>
                    <a:pt x="246965" y="418164"/>
                    <a:pt x="244708" y="415907"/>
                    <a:pt x="241886" y="415907"/>
                  </a:cubicBezTo>
                  <a:lnTo>
                    <a:pt x="214571" y="415907"/>
                  </a:lnTo>
                  <a:cubicBezTo>
                    <a:pt x="211749" y="415907"/>
                    <a:pt x="209491" y="413650"/>
                    <a:pt x="209491" y="410828"/>
                  </a:cubicBezTo>
                  <a:lnTo>
                    <a:pt x="209491" y="154399"/>
                  </a:lnTo>
                  <a:cubicBezTo>
                    <a:pt x="209491" y="151803"/>
                    <a:pt x="210620" y="149320"/>
                    <a:pt x="212652" y="147515"/>
                  </a:cubicBezTo>
                  <a:cubicBezTo>
                    <a:pt x="237597" y="126183"/>
                    <a:pt x="259833" y="111962"/>
                    <a:pt x="288389" y="111962"/>
                  </a:cubicBezTo>
                  <a:cubicBezTo>
                    <a:pt x="314237" y="111962"/>
                    <a:pt x="339295" y="125957"/>
                    <a:pt x="339295" y="152932"/>
                  </a:cubicBezTo>
                  <a:lnTo>
                    <a:pt x="339295" y="410716"/>
                  </a:lnTo>
                  <a:cubicBezTo>
                    <a:pt x="339295" y="413537"/>
                    <a:pt x="337037" y="415794"/>
                    <a:pt x="334216" y="415794"/>
                  </a:cubicBezTo>
                  <a:lnTo>
                    <a:pt x="307916" y="415794"/>
                  </a:lnTo>
                  <a:cubicBezTo>
                    <a:pt x="305094" y="415794"/>
                    <a:pt x="302837" y="418052"/>
                    <a:pt x="302837" y="420873"/>
                  </a:cubicBezTo>
                  <a:lnTo>
                    <a:pt x="302837" y="466696"/>
                  </a:lnTo>
                  <a:cubicBezTo>
                    <a:pt x="302837" y="469518"/>
                    <a:pt x="305094" y="471775"/>
                    <a:pt x="307916" y="471775"/>
                  </a:cubicBezTo>
                  <a:lnTo>
                    <a:pt x="542917" y="471775"/>
                  </a:lnTo>
                  <a:cubicBezTo>
                    <a:pt x="545739" y="471775"/>
                    <a:pt x="547996" y="469518"/>
                    <a:pt x="547996" y="466696"/>
                  </a:cubicBezTo>
                  <a:lnTo>
                    <a:pt x="547996" y="420873"/>
                  </a:lnTo>
                  <a:cubicBezTo>
                    <a:pt x="547996" y="418052"/>
                    <a:pt x="545739" y="415794"/>
                    <a:pt x="542917" y="415794"/>
                  </a:cubicBezTo>
                  <a:lnTo>
                    <a:pt x="520230" y="415794"/>
                  </a:lnTo>
                  <a:close/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F6F678E-BAC6-2D5A-4223-E0553019BEF8}"/>
                </a:ext>
              </a:extLst>
            </p:cNvPr>
            <p:cNvSpPr/>
            <p:nvPr/>
          </p:nvSpPr>
          <p:spPr>
            <a:xfrm>
              <a:off x="7218840" y="3046223"/>
              <a:ext cx="189400" cy="137920"/>
            </a:xfrm>
            <a:custGeom>
              <a:avLst/>
              <a:gdLst>
                <a:gd name="connsiteX0" fmla="*/ 65466 w 189400"/>
                <a:gd name="connsiteY0" fmla="*/ 137921 h 137920"/>
                <a:gd name="connsiteX1" fmla="*/ 189400 w 189400"/>
                <a:gd name="connsiteY1" fmla="*/ 58690 h 137920"/>
                <a:gd name="connsiteX2" fmla="*/ 103843 w 189400"/>
                <a:gd name="connsiteY2" fmla="*/ 0 h 137920"/>
                <a:gd name="connsiteX3" fmla="*/ 0 w 189400"/>
                <a:gd name="connsiteY3" fmla="*/ 80134 h 137920"/>
                <a:gd name="connsiteX4" fmla="*/ 65466 w 189400"/>
                <a:gd name="connsiteY4" fmla="*/ 137921 h 13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400" h="137920">
                  <a:moveTo>
                    <a:pt x="65466" y="137921"/>
                  </a:moveTo>
                  <a:cubicBezTo>
                    <a:pt x="113550" y="137921"/>
                    <a:pt x="189400" y="117379"/>
                    <a:pt x="189400" y="58690"/>
                  </a:cubicBezTo>
                  <a:cubicBezTo>
                    <a:pt x="189400" y="10271"/>
                    <a:pt x="145154" y="0"/>
                    <a:pt x="103843" y="0"/>
                  </a:cubicBezTo>
                  <a:cubicBezTo>
                    <a:pt x="62532" y="0"/>
                    <a:pt x="0" y="34537"/>
                    <a:pt x="0" y="80134"/>
                  </a:cubicBezTo>
                  <a:cubicBezTo>
                    <a:pt x="113" y="118395"/>
                    <a:pt x="26977" y="137921"/>
                    <a:pt x="65466" y="137921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3564AE3F-AC1D-5ED8-D685-A44EC4C3729F}"/>
                </a:ext>
              </a:extLst>
            </p:cNvPr>
            <p:cNvSpPr/>
            <p:nvPr/>
          </p:nvSpPr>
          <p:spPr>
            <a:xfrm>
              <a:off x="7188364" y="3187189"/>
              <a:ext cx="244143" cy="470648"/>
            </a:xfrm>
            <a:custGeom>
              <a:avLst/>
              <a:gdLst>
                <a:gd name="connsiteX0" fmla="*/ 212313 w 244143"/>
                <a:gd name="connsiteY0" fmla="*/ 409589 h 470648"/>
                <a:gd name="connsiteX1" fmla="*/ 212313 w 244143"/>
                <a:gd name="connsiteY1" fmla="*/ 3388 h 470648"/>
                <a:gd name="connsiteX2" fmla="*/ 208024 w 244143"/>
                <a:gd name="connsiteY2" fmla="*/ 115 h 470648"/>
                <a:gd name="connsiteX3" fmla="*/ 5531 w 244143"/>
                <a:gd name="connsiteY3" fmla="*/ 55757 h 470648"/>
                <a:gd name="connsiteX4" fmla="*/ 1806 w 244143"/>
                <a:gd name="connsiteY4" fmla="*/ 60611 h 470648"/>
                <a:gd name="connsiteX5" fmla="*/ 1806 w 244143"/>
                <a:gd name="connsiteY5" fmla="*/ 105757 h 470648"/>
                <a:gd name="connsiteX6" fmla="*/ 5870 w 244143"/>
                <a:gd name="connsiteY6" fmla="*/ 109030 h 470648"/>
                <a:gd name="connsiteX7" fmla="*/ 32507 w 244143"/>
                <a:gd name="connsiteY7" fmla="*/ 104176 h 470648"/>
                <a:gd name="connsiteX8" fmla="*/ 36458 w 244143"/>
                <a:gd name="connsiteY8" fmla="*/ 107450 h 470648"/>
                <a:gd name="connsiteX9" fmla="*/ 36458 w 244143"/>
                <a:gd name="connsiteY9" fmla="*/ 409589 h 470648"/>
                <a:gd name="connsiteX10" fmla="*/ 31379 w 244143"/>
                <a:gd name="connsiteY10" fmla="*/ 414668 h 470648"/>
                <a:gd name="connsiteX11" fmla="*/ 5079 w 244143"/>
                <a:gd name="connsiteY11" fmla="*/ 414668 h 470648"/>
                <a:gd name="connsiteX12" fmla="*/ 0 w 244143"/>
                <a:gd name="connsiteY12" fmla="*/ 419747 h 470648"/>
                <a:gd name="connsiteX13" fmla="*/ 0 w 244143"/>
                <a:gd name="connsiteY13" fmla="*/ 465570 h 470648"/>
                <a:gd name="connsiteX14" fmla="*/ 5079 w 244143"/>
                <a:gd name="connsiteY14" fmla="*/ 470649 h 470648"/>
                <a:gd name="connsiteX15" fmla="*/ 239064 w 244143"/>
                <a:gd name="connsiteY15" fmla="*/ 470649 h 470648"/>
                <a:gd name="connsiteX16" fmla="*/ 244144 w 244143"/>
                <a:gd name="connsiteY16" fmla="*/ 465570 h 470648"/>
                <a:gd name="connsiteX17" fmla="*/ 244144 w 244143"/>
                <a:gd name="connsiteY17" fmla="*/ 419747 h 470648"/>
                <a:gd name="connsiteX18" fmla="*/ 239064 w 244143"/>
                <a:gd name="connsiteY18" fmla="*/ 414668 h 470648"/>
                <a:gd name="connsiteX19" fmla="*/ 217506 w 244143"/>
                <a:gd name="connsiteY19" fmla="*/ 414668 h 470648"/>
                <a:gd name="connsiteX20" fmla="*/ 212313 w 244143"/>
                <a:gd name="connsiteY20" fmla="*/ 409589 h 47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143" h="470648">
                  <a:moveTo>
                    <a:pt x="212313" y="409589"/>
                  </a:moveTo>
                  <a:lnTo>
                    <a:pt x="212313" y="3388"/>
                  </a:lnTo>
                  <a:cubicBezTo>
                    <a:pt x="212313" y="1131"/>
                    <a:pt x="210169" y="-449"/>
                    <a:pt x="208024" y="115"/>
                  </a:cubicBezTo>
                  <a:lnTo>
                    <a:pt x="5531" y="55757"/>
                  </a:lnTo>
                  <a:cubicBezTo>
                    <a:pt x="3273" y="56322"/>
                    <a:pt x="1806" y="58353"/>
                    <a:pt x="1806" y="60611"/>
                  </a:cubicBezTo>
                  <a:lnTo>
                    <a:pt x="1806" y="105757"/>
                  </a:lnTo>
                  <a:cubicBezTo>
                    <a:pt x="1806" y="107901"/>
                    <a:pt x="3725" y="109481"/>
                    <a:pt x="5870" y="109030"/>
                  </a:cubicBezTo>
                  <a:lnTo>
                    <a:pt x="32507" y="104176"/>
                  </a:lnTo>
                  <a:cubicBezTo>
                    <a:pt x="34539" y="103838"/>
                    <a:pt x="36458" y="105418"/>
                    <a:pt x="36458" y="107450"/>
                  </a:cubicBezTo>
                  <a:lnTo>
                    <a:pt x="36458" y="409589"/>
                  </a:lnTo>
                  <a:cubicBezTo>
                    <a:pt x="36458" y="412411"/>
                    <a:pt x="34200" y="414668"/>
                    <a:pt x="31379" y="414668"/>
                  </a:cubicBezTo>
                  <a:lnTo>
                    <a:pt x="5079" y="414668"/>
                  </a:lnTo>
                  <a:cubicBezTo>
                    <a:pt x="2257" y="414668"/>
                    <a:pt x="0" y="416925"/>
                    <a:pt x="0" y="419747"/>
                  </a:cubicBezTo>
                  <a:lnTo>
                    <a:pt x="0" y="465570"/>
                  </a:lnTo>
                  <a:cubicBezTo>
                    <a:pt x="0" y="468391"/>
                    <a:pt x="2257" y="470649"/>
                    <a:pt x="5079" y="470649"/>
                  </a:cubicBezTo>
                  <a:lnTo>
                    <a:pt x="239064" y="470649"/>
                  </a:lnTo>
                  <a:cubicBezTo>
                    <a:pt x="241886" y="470649"/>
                    <a:pt x="244144" y="468391"/>
                    <a:pt x="244144" y="465570"/>
                  </a:cubicBezTo>
                  <a:lnTo>
                    <a:pt x="244144" y="419747"/>
                  </a:lnTo>
                  <a:cubicBezTo>
                    <a:pt x="244144" y="416925"/>
                    <a:pt x="241886" y="414668"/>
                    <a:pt x="239064" y="414668"/>
                  </a:cubicBezTo>
                  <a:lnTo>
                    <a:pt x="217506" y="414668"/>
                  </a:lnTo>
                  <a:cubicBezTo>
                    <a:pt x="214571" y="414668"/>
                    <a:pt x="212313" y="412411"/>
                    <a:pt x="212313" y="40958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1FCB145F-5CB0-B2FF-CDEE-4778B131F172}"/>
                </a:ext>
              </a:extLst>
            </p:cNvPr>
            <p:cNvSpPr/>
            <p:nvPr/>
          </p:nvSpPr>
          <p:spPr>
            <a:xfrm>
              <a:off x="5584559" y="3114281"/>
              <a:ext cx="465260" cy="718723"/>
            </a:xfrm>
            <a:custGeom>
              <a:avLst/>
              <a:gdLst>
                <a:gd name="connsiteX0" fmla="*/ 217731 w 465260"/>
                <a:gd name="connsiteY0" fmla="*/ 463987 h 718723"/>
                <a:gd name="connsiteX1" fmla="*/ 217505 w 465260"/>
                <a:gd name="connsiteY1" fmla="*/ 459586 h 718723"/>
                <a:gd name="connsiteX2" fmla="*/ 465260 w 465260"/>
                <a:gd name="connsiteY2" fmla="*/ 256316 h 718723"/>
                <a:gd name="connsiteX3" fmla="*/ 374850 w 465260"/>
                <a:gd name="connsiteY3" fmla="*/ 99772 h 718723"/>
                <a:gd name="connsiteX4" fmla="*/ 397198 w 465260"/>
                <a:gd name="connsiteY4" fmla="*/ 78667 h 718723"/>
                <a:gd name="connsiteX5" fmla="*/ 422595 w 465260"/>
                <a:gd name="connsiteY5" fmla="*/ 85100 h 718723"/>
                <a:gd name="connsiteX6" fmla="*/ 428351 w 465260"/>
                <a:gd name="connsiteY6" fmla="*/ 82617 h 718723"/>
                <a:gd name="connsiteX7" fmla="*/ 446862 w 465260"/>
                <a:gd name="connsiteY7" fmla="*/ 7336 h 718723"/>
                <a:gd name="connsiteX8" fmla="*/ 443476 w 465260"/>
                <a:gd name="connsiteY8" fmla="*/ 2483 h 718723"/>
                <a:gd name="connsiteX9" fmla="*/ 412436 w 465260"/>
                <a:gd name="connsiteY9" fmla="*/ 0 h 718723"/>
                <a:gd name="connsiteX10" fmla="*/ 331619 w 465260"/>
                <a:gd name="connsiteY10" fmla="*/ 48419 h 718723"/>
                <a:gd name="connsiteX11" fmla="*/ 321235 w 465260"/>
                <a:gd name="connsiteY11" fmla="*/ 79908 h 718723"/>
                <a:gd name="connsiteX12" fmla="*/ 315479 w 465260"/>
                <a:gd name="connsiteY12" fmla="*/ 83294 h 718723"/>
                <a:gd name="connsiteX13" fmla="*/ 214345 w 465260"/>
                <a:gd name="connsiteY13" fmla="*/ 71782 h 718723"/>
                <a:gd name="connsiteX14" fmla="*/ 0 w 465260"/>
                <a:gd name="connsiteY14" fmla="*/ 263765 h 718723"/>
                <a:gd name="connsiteX15" fmla="*/ 160279 w 465260"/>
                <a:gd name="connsiteY15" fmla="*/ 428097 h 718723"/>
                <a:gd name="connsiteX16" fmla="*/ 160505 w 465260"/>
                <a:gd name="connsiteY16" fmla="*/ 432385 h 718723"/>
                <a:gd name="connsiteX17" fmla="*/ 28105 w 465260"/>
                <a:gd name="connsiteY17" fmla="*/ 479224 h 718723"/>
                <a:gd name="connsiteX18" fmla="*/ 24719 w 465260"/>
                <a:gd name="connsiteY18" fmla="*/ 485319 h 718723"/>
                <a:gd name="connsiteX19" fmla="*/ 44246 w 465260"/>
                <a:gd name="connsiteY19" fmla="*/ 535657 h 718723"/>
                <a:gd name="connsiteX20" fmla="*/ 51696 w 465260"/>
                <a:gd name="connsiteY20" fmla="*/ 539946 h 718723"/>
                <a:gd name="connsiteX21" fmla="*/ 164681 w 465260"/>
                <a:gd name="connsiteY21" fmla="*/ 542542 h 718723"/>
                <a:gd name="connsiteX22" fmla="*/ 164907 w 465260"/>
                <a:gd name="connsiteY22" fmla="*/ 546943 h 718723"/>
                <a:gd name="connsiteX23" fmla="*/ 81720 w 465260"/>
                <a:gd name="connsiteY23" fmla="*/ 625497 h 718723"/>
                <a:gd name="connsiteX24" fmla="*/ 252721 w 465260"/>
                <a:gd name="connsiteY24" fmla="*/ 718724 h 718723"/>
                <a:gd name="connsiteX25" fmla="*/ 449684 w 465260"/>
                <a:gd name="connsiteY25" fmla="*/ 592879 h 718723"/>
                <a:gd name="connsiteX26" fmla="*/ 217731 w 465260"/>
                <a:gd name="connsiteY26" fmla="*/ 463987 h 718723"/>
                <a:gd name="connsiteX27" fmla="*/ 156554 w 465260"/>
                <a:gd name="connsiteY27" fmla="*/ 192999 h 718723"/>
                <a:gd name="connsiteX28" fmla="*/ 206557 w 465260"/>
                <a:gd name="connsiteY28" fmla="*/ 130472 h 718723"/>
                <a:gd name="connsiteX29" fmla="*/ 308481 w 465260"/>
                <a:gd name="connsiteY29" fmla="*/ 321552 h 718723"/>
                <a:gd name="connsiteX30" fmla="*/ 258478 w 465260"/>
                <a:gd name="connsiteY30" fmla="*/ 384079 h 718723"/>
                <a:gd name="connsiteX31" fmla="*/ 156554 w 465260"/>
                <a:gd name="connsiteY31" fmla="*/ 192999 h 718723"/>
                <a:gd name="connsiteX32" fmla="*/ 256559 w 465260"/>
                <a:gd name="connsiteY32" fmla="*/ 674029 h 718723"/>
                <a:gd name="connsiteX33" fmla="*/ 217167 w 465260"/>
                <a:gd name="connsiteY33" fmla="*/ 625610 h 718723"/>
                <a:gd name="connsiteX34" fmla="*/ 230824 w 465260"/>
                <a:gd name="connsiteY34" fmla="*/ 566807 h 718723"/>
                <a:gd name="connsiteX35" fmla="*/ 238612 w 465260"/>
                <a:gd name="connsiteY35" fmla="*/ 564776 h 718723"/>
                <a:gd name="connsiteX36" fmla="*/ 293130 w 465260"/>
                <a:gd name="connsiteY36" fmla="*/ 639718 h 718723"/>
                <a:gd name="connsiteX37" fmla="*/ 256559 w 465260"/>
                <a:gd name="connsiteY37" fmla="*/ 674029 h 71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5260" h="718723">
                  <a:moveTo>
                    <a:pt x="217731" y="463987"/>
                  </a:moveTo>
                  <a:cubicBezTo>
                    <a:pt x="210282" y="463310"/>
                    <a:pt x="210056" y="461279"/>
                    <a:pt x="217505" y="459586"/>
                  </a:cubicBezTo>
                  <a:cubicBezTo>
                    <a:pt x="349227" y="428435"/>
                    <a:pt x="465260" y="391980"/>
                    <a:pt x="465260" y="256316"/>
                  </a:cubicBezTo>
                  <a:cubicBezTo>
                    <a:pt x="465260" y="147289"/>
                    <a:pt x="374850" y="118395"/>
                    <a:pt x="374850" y="99772"/>
                  </a:cubicBezTo>
                  <a:cubicBezTo>
                    <a:pt x="374850" y="89502"/>
                    <a:pt x="380606" y="78667"/>
                    <a:pt x="397198" y="78667"/>
                  </a:cubicBezTo>
                  <a:cubicBezTo>
                    <a:pt x="402616" y="78667"/>
                    <a:pt x="413339" y="79795"/>
                    <a:pt x="422595" y="85100"/>
                  </a:cubicBezTo>
                  <a:cubicBezTo>
                    <a:pt x="424852" y="86454"/>
                    <a:pt x="427674" y="85100"/>
                    <a:pt x="428351" y="82617"/>
                  </a:cubicBezTo>
                  <a:lnTo>
                    <a:pt x="446862" y="7336"/>
                  </a:lnTo>
                  <a:cubicBezTo>
                    <a:pt x="447426" y="4966"/>
                    <a:pt x="445846" y="2709"/>
                    <a:pt x="443476" y="2483"/>
                  </a:cubicBezTo>
                  <a:cubicBezTo>
                    <a:pt x="433543" y="1354"/>
                    <a:pt x="420563" y="0"/>
                    <a:pt x="412436" y="0"/>
                  </a:cubicBezTo>
                  <a:cubicBezTo>
                    <a:pt x="360515" y="0"/>
                    <a:pt x="343245" y="13995"/>
                    <a:pt x="331619" y="48419"/>
                  </a:cubicBezTo>
                  <a:lnTo>
                    <a:pt x="321235" y="79908"/>
                  </a:lnTo>
                  <a:cubicBezTo>
                    <a:pt x="320445" y="82278"/>
                    <a:pt x="317962" y="83746"/>
                    <a:pt x="315479" y="83294"/>
                  </a:cubicBezTo>
                  <a:cubicBezTo>
                    <a:pt x="286245" y="77877"/>
                    <a:pt x="258365" y="71782"/>
                    <a:pt x="214345" y="71782"/>
                  </a:cubicBezTo>
                  <a:cubicBezTo>
                    <a:pt x="109599" y="71782"/>
                    <a:pt x="0" y="129569"/>
                    <a:pt x="0" y="263765"/>
                  </a:cubicBezTo>
                  <a:cubicBezTo>
                    <a:pt x="0" y="353944"/>
                    <a:pt x="71448" y="412521"/>
                    <a:pt x="160279" y="428097"/>
                  </a:cubicBezTo>
                  <a:cubicBezTo>
                    <a:pt x="165245" y="428999"/>
                    <a:pt x="165358" y="430918"/>
                    <a:pt x="160505" y="432385"/>
                  </a:cubicBezTo>
                  <a:cubicBezTo>
                    <a:pt x="128788" y="442430"/>
                    <a:pt x="84541" y="470082"/>
                    <a:pt x="28105" y="479224"/>
                  </a:cubicBezTo>
                  <a:cubicBezTo>
                    <a:pt x="25058" y="479676"/>
                    <a:pt x="23478" y="482497"/>
                    <a:pt x="24719" y="485319"/>
                  </a:cubicBezTo>
                  <a:lnTo>
                    <a:pt x="44246" y="535657"/>
                  </a:lnTo>
                  <a:cubicBezTo>
                    <a:pt x="45375" y="538704"/>
                    <a:pt x="48535" y="540510"/>
                    <a:pt x="51696" y="539946"/>
                  </a:cubicBezTo>
                  <a:cubicBezTo>
                    <a:pt x="76415" y="535544"/>
                    <a:pt x="130819" y="538930"/>
                    <a:pt x="164681" y="542542"/>
                  </a:cubicBezTo>
                  <a:cubicBezTo>
                    <a:pt x="172695" y="543332"/>
                    <a:pt x="172695" y="545363"/>
                    <a:pt x="164907" y="546943"/>
                  </a:cubicBezTo>
                  <a:cubicBezTo>
                    <a:pt x="118516" y="556875"/>
                    <a:pt x="81720" y="587800"/>
                    <a:pt x="81720" y="625497"/>
                  </a:cubicBezTo>
                  <a:cubicBezTo>
                    <a:pt x="81720" y="701004"/>
                    <a:pt x="168180" y="718724"/>
                    <a:pt x="252721" y="718724"/>
                  </a:cubicBezTo>
                  <a:cubicBezTo>
                    <a:pt x="310512" y="718724"/>
                    <a:pt x="449684" y="694570"/>
                    <a:pt x="449684" y="592879"/>
                  </a:cubicBezTo>
                  <a:cubicBezTo>
                    <a:pt x="449684" y="498186"/>
                    <a:pt x="315817" y="473355"/>
                    <a:pt x="217731" y="463987"/>
                  </a:cubicBezTo>
                  <a:moveTo>
                    <a:pt x="156554" y="192999"/>
                  </a:moveTo>
                  <a:cubicBezTo>
                    <a:pt x="156554" y="148192"/>
                    <a:pt x="171002" y="130472"/>
                    <a:pt x="206557" y="130472"/>
                  </a:cubicBezTo>
                  <a:cubicBezTo>
                    <a:pt x="278682" y="130472"/>
                    <a:pt x="308481" y="271214"/>
                    <a:pt x="308481" y="321552"/>
                  </a:cubicBezTo>
                  <a:cubicBezTo>
                    <a:pt x="308481" y="366359"/>
                    <a:pt x="294033" y="384079"/>
                    <a:pt x="258478" y="384079"/>
                  </a:cubicBezTo>
                  <a:cubicBezTo>
                    <a:pt x="186353" y="384079"/>
                    <a:pt x="156554" y="243337"/>
                    <a:pt x="156554" y="192999"/>
                  </a:cubicBezTo>
                  <a:moveTo>
                    <a:pt x="256559" y="674029"/>
                  </a:moveTo>
                  <a:cubicBezTo>
                    <a:pt x="229583" y="674029"/>
                    <a:pt x="217167" y="648860"/>
                    <a:pt x="217167" y="625610"/>
                  </a:cubicBezTo>
                  <a:cubicBezTo>
                    <a:pt x="217167" y="609132"/>
                    <a:pt x="221794" y="582947"/>
                    <a:pt x="230824" y="566807"/>
                  </a:cubicBezTo>
                  <a:cubicBezTo>
                    <a:pt x="232404" y="563986"/>
                    <a:pt x="235904" y="563083"/>
                    <a:pt x="238612" y="564776"/>
                  </a:cubicBezTo>
                  <a:cubicBezTo>
                    <a:pt x="273377" y="585543"/>
                    <a:pt x="293130" y="601231"/>
                    <a:pt x="293130" y="639718"/>
                  </a:cubicBezTo>
                  <a:cubicBezTo>
                    <a:pt x="293130" y="662856"/>
                    <a:pt x="280601" y="674029"/>
                    <a:pt x="256559" y="674029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2621899-B09B-82C0-45E3-FB47C29D7D4A}"/>
                </a:ext>
              </a:extLst>
            </p:cNvPr>
            <p:cNvSpPr/>
            <p:nvPr/>
          </p:nvSpPr>
          <p:spPr>
            <a:xfrm>
              <a:off x="8975475" y="3066374"/>
              <a:ext cx="357579" cy="600093"/>
            </a:xfrm>
            <a:custGeom>
              <a:avLst/>
              <a:gdLst>
                <a:gd name="connsiteX0" fmla="*/ 7449 w 357579"/>
                <a:gd name="connsiteY0" fmla="*/ 599026 h 600093"/>
                <a:gd name="connsiteX1" fmla="*/ 355548 w 357579"/>
                <a:gd name="connsiteY1" fmla="*/ 304336 h 600093"/>
                <a:gd name="connsiteX2" fmla="*/ 355548 w 357579"/>
                <a:gd name="connsiteY2" fmla="*/ 295758 h 600093"/>
                <a:gd name="connsiteX3" fmla="*/ 7449 w 357579"/>
                <a:gd name="connsiteY3" fmla="*/ 1068 h 600093"/>
                <a:gd name="connsiteX4" fmla="*/ 0 w 357579"/>
                <a:gd name="connsiteY4" fmla="*/ 4454 h 600093"/>
                <a:gd name="connsiteX5" fmla="*/ 0 w 357579"/>
                <a:gd name="connsiteY5" fmla="*/ 595640 h 600093"/>
                <a:gd name="connsiteX6" fmla="*/ 7449 w 357579"/>
                <a:gd name="connsiteY6" fmla="*/ 599026 h 60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579" h="600093">
                  <a:moveTo>
                    <a:pt x="7449" y="599026"/>
                  </a:moveTo>
                  <a:lnTo>
                    <a:pt x="355548" y="304336"/>
                  </a:lnTo>
                  <a:cubicBezTo>
                    <a:pt x="358257" y="302078"/>
                    <a:pt x="358257" y="297902"/>
                    <a:pt x="355548" y="295758"/>
                  </a:cubicBezTo>
                  <a:lnTo>
                    <a:pt x="7449" y="1068"/>
                  </a:lnTo>
                  <a:cubicBezTo>
                    <a:pt x="4515" y="-1415"/>
                    <a:pt x="0" y="729"/>
                    <a:pt x="0" y="4454"/>
                  </a:cubicBezTo>
                  <a:lnTo>
                    <a:pt x="0" y="595640"/>
                  </a:lnTo>
                  <a:cubicBezTo>
                    <a:pt x="0" y="599364"/>
                    <a:pt x="4515" y="601509"/>
                    <a:pt x="7449" y="599026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91E1E37-593F-C552-F24B-B78186797DE3}"/>
                </a:ext>
              </a:extLst>
            </p:cNvPr>
            <p:cNvSpPr/>
            <p:nvPr/>
          </p:nvSpPr>
          <p:spPr>
            <a:xfrm>
              <a:off x="8031884" y="3043966"/>
              <a:ext cx="887041" cy="627641"/>
            </a:xfrm>
            <a:custGeom>
              <a:avLst/>
              <a:gdLst>
                <a:gd name="connsiteX0" fmla="*/ 645833 w 887041"/>
                <a:gd name="connsiteY0" fmla="*/ 17043 h 627641"/>
                <a:gd name="connsiteX1" fmla="*/ 407898 w 887041"/>
                <a:gd name="connsiteY1" fmla="*/ 267490 h 627641"/>
                <a:gd name="connsiteX2" fmla="*/ 403044 w 887041"/>
                <a:gd name="connsiteY2" fmla="*/ 269070 h 627641"/>
                <a:gd name="connsiteX3" fmla="*/ 143663 w 887041"/>
                <a:gd name="connsiteY3" fmla="*/ 230809 h 627641"/>
                <a:gd name="connsiteX4" fmla="*/ 139712 w 887041"/>
                <a:gd name="connsiteY4" fmla="*/ 227648 h 627641"/>
                <a:gd name="connsiteX5" fmla="*/ 155289 w 887041"/>
                <a:gd name="connsiteY5" fmla="*/ 156318 h 627641"/>
                <a:gd name="connsiteX6" fmla="*/ 160255 w 887041"/>
                <a:gd name="connsiteY6" fmla="*/ 152368 h 627641"/>
                <a:gd name="connsiteX7" fmla="*/ 377986 w 887041"/>
                <a:gd name="connsiteY7" fmla="*/ 152368 h 627641"/>
                <a:gd name="connsiteX8" fmla="*/ 382953 w 887041"/>
                <a:gd name="connsiteY8" fmla="*/ 148304 h 627641"/>
                <a:gd name="connsiteX9" fmla="*/ 413202 w 887041"/>
                <a:gd name="connsiteY9" fmla="*/ 4063 h 627641"/>
                <a:gd name="connsiteX10" fmla="*/ 409929 w 887041"/>
                <a:gd name="connsiteY10" fmla="*/ 0 h 627641"/>
                <a:gd name="connsiteX11" fmla="*/ 359136 w 887041"/>
                <a:gd name="connsiteY11" fmla="*/ 0 h 627641"/>
                <a:gd name="connsiteX12" fmla="*/ 354283 w 887041"/>
                <a:gd name="connsiteY12" fmla="*/ 3612 h 627641"/>
                <a:gd name="connsiteX13" fmla="*/ 350446 w 887041"/>
                <a:gd name="connsiteY13" fmla="*/ 17155 h 627641"/>
                <a:gd name="connsiteX14" fmla="*/ 345592 w 887041"/>
                <a:gd name="connsiteY14" fmla="*/ 20880 h 627641"/>
                <a:gd name="connsiteX15" fmla="*/ 104609 w 887041"/>
                <a:gd name="connsiteY15" fmla="*/ 20880 h 627641"/>
                <a:gd name="connsiteX16" fmla="*/ 99643 w 887041"/>
                <a:gd name="connsiteY16" fmla="*/ 24830 h 627641"/>
                <a:gd name="connsiteX17" fmla="*/ 32484 w 887041"/>
                <a:gd name="connsiteY17" fmla="*/ 321101 h 627641"/>
                <a:gd name="connsiteX18" fmla="*/ 34290 w 887041"/>
                <a:gd name="connsiteY18" fmla="*/ 326631 h 627641"/>
                <a:gd name="connsiteX19" fmla="*/ 85308 w 887041"/>
                <a:gd name="connsiteY19" fmla="*/ 369858 h 627641"/>
                <a:gd name="connsiteX20" fmla="*/ 91516 w 887041"/>
                <a:gd name="connsiteY20" fmla="*/ 370084 h 627641"/>
                <a:gd name="connsiteX21" fmla="*/ 345479 w 887041"/>
                <a:gd name="connsiteY21" fmla="*/ 436110 h 627641"/>
                <a:gd name="connsiteX22" fmla="*/ 279448 w 887041"/>
                <a:gd name="connsiteY22" fmla="*/ 505860 h 627641"/>
                <a:gd name="connsiteX23" fmla="*/ 136213 w 887041"/>
                <a:gd name="connsiteY23" fmla="*/ 415794 h 627641"/>
                <a:gd name="connsiteX24" fmla="*/ 130231 w 887041"/>
                <a:gd name="connsiteY24" fmla="*/ 415794 h 627641"/>
                <a:gd name="connsiteX25" fmla="*/ 1782 w 887041"/>
                <a:gd name="connsiteY25" fmla="*/ 524483 h 627641"/>
                <a:gd name="connsiteX26" fmla="*/ 1444 w 887041"/>
                <a:gd name="connsiteY26" fmla="*/ 531932 h 627641"/>
                <a:gd name="connsiteX27" fmla="*/ 220755 w 887041"/>
                <a:gd name="connsiteY27" fmla="*/ 627303 h 627641"/>
                <a:gd name="connsiteX28" fmla="*/ 428892 w 887041"/>
                <a:gd name="connsiteY28" fmla="*/ 479789 h 627641"/>
                <a:gd name="connsiteX29" fmla="*/ 434084 w 887041"/>
                <a:gd name="connsiteY29" fmla="*/ 479789 h 627641"/>
                <a:gd name="connsiteX30" fmla="*/ 645946 w 887041"/>
                <a:gd name="connsiteY30" fmla="*/ 627642 h 627641"/>
                <a:gd name="connsiteX31" fmla="*/ 887041 w 887041"/>
                <a:gd name="connsiteY31" fmla="*/ 322342 h 627641"/>
                <a:gd name="connsiteX32" fmla="*/ 645833 w 887041"/>
                <a:gd name="connsiteY32" fmla="*/ 17043 h 627641"/>
                <a:gd name="connsiteX33" fmla="*/ 710396 w 887041"/>
                <a:gd name="connsiteY33" fmla="*/ 520082 h 627641"/>
                <a:gd name="connsiteX34" fmla="*/ 527768 w 887041"/>
                <a:gd name="connsiteY34" fmla="*/ 202028 h 627641"/>
                <a:gd name="connsiteX35" fmla="*/ 581270 w 887041"/>
                <a:gd name="connsiteY35" fmla="*/ 124716 h 627641"/>
                <a:gd name="connsiteX36" fmla="*/ 763897 w 887041"/>
                <a:gd name="connsiteY36" fmla="*/ 442769 h 627641"/>
                <a:gd name="connsiteX37" fmla="*/ 710396 w 887041"/>
                <a:gd name="connsiteY37" fmla="*/ 520082 h 62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87041" h="627641">
                  <a:moveTo>
                    <a:pt x="645833" y="17043"/>
                  </a:moveTo>
                  <a:cubicBezTo>
                    <a:pt x="500678" y="17043"/>
                    <a:pt x="423925" y="132165"/>
                    <a:pt x="407898" y="267490"/>
                  </a:cubicBezTo>
                  <a:cubicBezTo>
                    <a:pt x="407446" y="270876"/>
                    <a:pt x="405301" y="271553"/>
                    <a:pt x="403044" y="269070"/>
                  </a:cubicBezTo>
                  <a:cubicBezTo>
                    <a:pt x="348075" y="207446"/>
                    <a:pt x="248183" y="183180"/>
                    <a:pt x="143663" y="230809"/>
                  </a:cubicBezTo>
                  <a:cubicBezTo>
                    <a:pt x="140841" y="232050"/>
                    <a:pt x="139035" y="230696"/>
                    <a:pt x="139712" y="227648"/>
                  </a:cubicBezTo>
                  <a:lnTo>
                    <a:pt x="155289" y="156318"/>
                  </a:lnTo>
                  <a:cubicBezTo>
                    <a:pt x="155853" y="154061"/>
                    <a:pt x="157885" y="152368"/>
                    <a:pt x="160255" y="152368"/>
                  </a:cubicBezTo>
                  <a:lnTo>
                    <a:pt x="377986" y="152368"/>
                  </a:lnTo>
                  <a:cubicBezTo>
                    <a:pt x="380357" y="152368"/>
                    <a:pt x="382501" y="150675"/>
                    <a:pt x="382953" y="148304"/>
                  </a:cubicBezTo>
                  <a:lnTo>
                    <a:pt x="413202" y="4063"/>
                  </a:lnTo>
                  <a:cubicBezTo>
                    <a:pt x="413654" y="1919"/>
                    <a:pt x="411961" y="0"/>
                    <a:pt x="409929" y="0"/>
                  </a:cubicBezTo>
                  <a:lnTo>
                    <a:pt x="359136" y="0"/>
                  </a:lnTo>
                  <a:cubicBezTo>
                    <a:pt x="356879" y="0"/>
                    <a:pt x="354848" y="1580"/>
                    <a:pt x="354283" y="3612"/>
                  </a:cubicBezTo>
                  <a:lnTo>
                    <a:pt x="350446" y="17155"/>
                  </a:lnTo>
                  <a:cubicBezTo>
                    <a:pt x="349881" y="19300"/>
                    <a:pt x="347849" y="20880"/>
                    <a:pt x="345592" y="20880"/>
                  </a:cubicBezTo>
                  <a:lnTo>
                    <a:pt x="104609" y="20880"/>
                  </a:lnTo>
                  <a:cubicBezTo>
                    <a:pt x="102239" y="20880"/>
                    <a:pt x="100207" y="22460"/>
                    <a:pt x="99643" y="24830"/>
                  </a:cubicBezTo>
                  <a:lnTo>
                    <a:pt x="32484" y="321101"/>
                  </a:lnTo>
                  <a:cubicBezTo>
                    <a:pt x="32032" y="323132"/>
                    <a:pt x="32709" y="325277"/>
                    <a:pt x="34290" y="326631"/>
                  </a:cubicBezTo>
                  <a:lnTo>
                    <a:pt x="85308" y="369858"/>
                  </a:lnTo>
                  <a:cubicBezTo>
                    <a:pt x="87114" y="371326"/>
                    <a:pt x="89597" y="371438"/>
                    <a:pt x="91516" y="370084"/>
                  </a:cubicBezTo>
                  <a:cubicBezTo>
                    <a:pt x="230801" y="273697"/>
                    <a:pt x="345479" y="372116"/>
                    <a:pt x="345479" y="436110"/>
                  </a:cubicBezTo>
                  <a:cubicBezTo>
                    <a:pt x="345479" y="475951"/>
                    <a:pt x="323356" y="505860"/>
                    <a:pt x="279448" y="505860"/>
                  </a:cubicBezTo>
                  <a:cubicBezTo>
                    <a:pt x="221094" y="505860"/>
                    <a:pt x="176283" y="452701"/>
                    <a:pt x="136213" y="415794"/>
                  </a:cubicBezTo>
                  <a:cubicBezTo>
                    <a:pt x="134520" y="414327"/>
                    <a:pt x="131924" y="414214"/>
                    <a:pt x="130231" y="415794"/>
                  </a:cubicBezTo>
                  <a:lnTo>
                    <a:pt x="1782" y="524483"/>
                  </a:lnTo>
                  <a:cubicBezTo>
                    <a:pt x="-475" y="526402"/>
                    <a:pt x="-588" y="529788"/>
                    <a:pt x="1444" y="531932"/>
                  </a:cubicBezTo>
                  <a:cubicBezTo>
                    <a:pt x="72440" y="604843"/>
                    <a:pt x="142421" y="627303"/>
                    <a:pt x="220755" y="627303"/>
                  </a:cubicBezTo>
                  <a:cubicBezTo>
                    <a:pt x="318841" y="627303"/>
                    <a:pt x="395595" y="563986"/>
                    <a:pt x="428892" y="479789"/>
                  </a:cubicBezTo>
                  <a:cubicBezTo>
                    <a:pt x="430359" y="476290"/>
                    <a:pt x="432617" y="476177"/>
                    <a:pt x="434084" y="479789"/>
                  </a:cubicBezTo>
                  <a:cubicBezTo>
                    <a:pt x="470090" y="566017"/>
                    <a:pt x="539619" y="627642"/>
                    <a:pt x="645946" y="627642"/>
                  </a:cubicBezTo>
                  <a:cubicBezTo>
                    <a:pt x="810401" y="627642"/>
                    <a:pt x="887041" y="479901"/>
                    <a:pt x="887041" y="322342"/>
                  </a:cubicBezTo>
                  <a:cubicBezTo>
                    <a:pt x="887041" y="164783"/>
                    <a:pt x="810288" y="17043"/>
                    <a:pt x="645833" y="17043"/>
                  </a:cubicBezTo>
                  <a:moveTo>
                    <a:pt x="710396" y="520082"/>
                  </a:moveTo>
                  <a:cubicBezTo>
                    <a:pt x="626644" y="520082"/>
                    <a:pt x="527768" y="340965"/>
                    <a:pt x="527768" y="202028"/>
                  </a:cubicBezTo>
                  <a:cubicBezTo>
                    <a:pt x="527768" y="150223"/>
                    <a:pt x="548988" y="124716"/>
                    <a:pt x="581270" y="124716"/>
                  </a:cubicBezTo>
                  <a:cubicBezTo>
                    <a:pt x="665021" y="124716"/>
                    <a:pt x="763897" y="303832"/>
                    <a:pt x="763897" y="442769"/>
                  </a:cubicBezTo>
                  <a:cubicBezTo>
                    <a:pt x="763897" y="494574"/>
                    <a:pt x="742678" y="520082"/>
                    <a:pt x="710396" y="520082"/>
                  </a:cubicBezTo>
                </a:path>
              </a:pathLst>
            </a:custGeom>
            <a:grpFill/>
            <a:ln w="1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33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661" r:id="rId2"/>
    <p:sldLayoutId id="2147483735" r:id="rId3"/>
    <p:sldLayoutId id="2147483730" r:id="rId4"/>
    <p:sldLayoutId id="2147483734" r:id="rId5"/>
    <p:sldLayoutId id="2147483743" r:id="rId6"/>
    <p:sldLayoutId id="2147483720" r:id="rId7"/>
    <p:sldLayoutId id="2147483722" r:id="rId8"/>
    <p:sldLayoutId id="2147483693" r:id="rId9"/>
    <p:sldLayoutId id="2147483741" r:id="rId10"/>
    <p:sldLayoutId id="2147483736" r:id="rId11"/>
    <p:sldLayoutId id="2147483727" r:id="rId12"/>
    <p:sldLayoutId id="2147483725" r:id="rId13"/>
    <p:sldLayoutId id="2147483737" r:id="rId14"/>
    <p:sldLayoutId id="2147483728" r:id="rId15"/>
    <p:sldLayoutId id="2147483713" r:id="rId16"/>
    <p:sldLayoutId id="2147483690" r:id="rId17"/>
    <p:sldLayoutId id="2147483700" r:id="rId18"/>
    <p:sldLayoutId id="2147483662" r:id="rId19"/>
    <p:sldLayoutId id="2147483696" r:id="rId20"/>
    <p:sldLayoutId id="2147483697" r:id="rId21"/>
    <p:sldLayoutId id="2147483708" r:id="rId22"/>
    <p:sldLayoutId id="2147483698" r:id="rId23"/>
    <p:sldLayoutId id="2147483702" r:id="rId24"/>
    <p:sldLayoutId id="2147483703" r:id="rId25"/>
    <p:sldLayoutId id="2147483740" r:id="rId26"/>
    <p:sldLayoutId id="2147483742" r:id="rId27"/>
    <p:sldLayoutId id="2147483729" r:id="rId28"/>
    <p:sldLayoutId id="2147483715" r:id="rId29"/>
    <p:sldLayoutId id="2147483716" r:id="rId30"/>
    <p:sldLayoutId id="2147483739" r:id="rId31"/>
    <p:sldLayoutId id="2147483738" r:id="rId32"/>
    <p:sldLayoutId id="2147483745" r:id="rId33"/>
  </p:sldLayoutIdLst>
  <p:hf hdr="0"/>
  <p:txStyles>
    <p:titleStyle>
      <a:lvl1pPr algn="l" rtl="0" eaLnBrk="1" latinLnBrk="0" hangingPunct="1">
        <a:spcBef>
          <a:spcPct val="0"/>
        </a:spcBef>
        <a:buNone/>
        <a:defRPr kumimoji="0" lang="en-US" sz="5000" b="1" i="0" kern="1200" spc="-125" baseline="0" dirty="0">
          <a:solidFill>
            <a:schemeClr val="tx1"/>
          </a:solidFill>
          <a:latin typeface="Arial"/>
          <a:ea typeface="+mn-ea"/>
          <a:cs typeface="Arial"/>
        </a:defRPr>
      </a:lvl1pPr>
    </p:titleStyle>
    <p:bodyStyle>
      <a:lvl1pPr marL="285739" indent="-285739" algn="l" rtl="0" eaLnBrk="1" latinLnBrk="0" hangingPunct="1">
        <a:spcBef>
          <a:spcPts val="0"/>
        </a:spcBef>
        <a:buClrTx/>
        <a:buSzPct val="100000"/>
        <a:buFont typeface="Arial"/>
        <a:buChar char="•"/>
        <a:defRPr kumimoji="0" sz="1750" b="0" i="0" kern="1200">
          <a:solidFill>
            <a:schemeClr val="tx1"/>
          </a:solidFill>
          <a:latin typeface="Century Schoolbook" panose="02040604050505020304" pitchFamily="18" charset="0"/>
          <a:ea typeface="+mn-ea"/>
          <a:cs typeface="Arial"/>
        </a:defRPr>
      </a:lvl1pPr>
      <a:lvl2pPr marL="522532" indent="-234147" algn="l" rtl="0" eaLnBrk="1" latinLnBrk="0" hangingPunct="1">
        <a:spcBef>
          <a:spcPts val="0"/>
        </a:spcBef>
        <a:buClrTx/>
        <a:buSzPct val="100000"/>
        <a:buFont typeface="Lucida Grande"/>
        <a:buChar char="-"/>
        <a:defRPr kumimoji="0" sz="1750" b="0" i="0" kern="1200">
          <a:solidFill>
            <a:schemeClr val="tx1"/>
          </a:solidFill>
          <a:latin typeface="Century Schoolbook" panose="02040604050505020304" pitchFamily="18" charset="0"/>
          <a:ea typeface="+mn-ea"/>
          <a:cs typeface="Arial"/>
        </a:defRPr>
      </a:lvl2pPr>
      <a:lvl3pPr marL="763293" indent="-240761" algn="l" rtl="0" eaLnBrk="1" latinLnBrk="0" hangingPunct="1">
        <a:spcBef>
          <a:spcPts val="0"/>
        </a:spcBef>
        <a:buClrTx/>
        <a:buSzPct val="100000"/>
        <a:buFont typeface="Lucida Grande"/>
        <a:buChar char="-"/>
        <a:defRPr kumimoji="0" sz="1750" b="0" i="0" kern="1200">
          <a:solidFill>
            <a:schemeClr val="tx1"/>
          </a:solidFill>
          <a:latin typeface="Century Schoolbook" panose="02040604050505020304" pitchFamily="18" charset="0"/>
          <a:ea typeface="+mn-ea"/>
          <a:cs typeface="Arial"/>
        </a:defRPr>
      </a:lvl3pPr>
      <a:lvl4pPr marL="1045062" indent="-281770" algn="l" rtl="0" eaLnBrk="1" latinLnBrk="0" hangingPunct="1">
        <a:spcBef>
          <a:spcPts val="0"/>
        </a:spcBef>
        <a:buClrTx/>
        <a:buSzPct val="100000"/>
        <a:buFont typeface="Lucida Grande"/>
        <a:buChar char="-"/>
        <a:defRPr kumimoji="0" sz="1750" b="0" i="0" kern="1200">
          <a:solidFill>
            <a:schemeClr val="tx1"/>
          </a:solidFill>
          <a:latin typeface="Century Schoolbook" panose="02040604050505020304" pitchFamily="18" charset="0"/>
          <a:ea typeface="+mn-ea"/>
          <a:cs typeface="Arial"/>
        </a:defRPr>
      </a:lvl4pPr>
      <a:lvl5pPr marL="1333447" indent="-288384" algn="l" rtl="0" eaLnBrk="1" latinLnBrk="0" hangingPunct="1">
        <a:spcBef>
          <a:spcPts val="0"/>
        </a:spcBef>
        <a:buClrTx/>
        <a:buSzPct val="100000"/>
        <a:buFont typeface="Lucida Grande"/>
        <a:buChar char="-"/>
        <a:defRPr kumimoji="0" sz="1750" b="0" i="0" kern="1200">
          <a:solidFill>
            <a:schemeClr val="tx1"/>
          </a:solidFill>
          <a:latin typeface="Century Schoolbook" panose="02040604050505020304" pitchFamily="18" charset="0"/>
          <a:ea typeface="+mn-ea"/>
          <a:cs typeface="Arial"/>
        </a:defRPr>
      </a:lvl5pPr>
      <a:lvl6pPr marL="1959252" indent="-217695" algn="l" rtl="0" eaLnBrk="1" latinLnBrk="0" hangingPunct="1">
        <a:spcBef>
          <a:spcPts val="357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917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176947" indent="-217695" algn="l" rtl="0" eaLnBrk="1" latinLnBrk="0" hangingPunct="1">
        <a:spcBef>
          <a:spcPts val="357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667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394642" indent="-217695" algn="l" rtl="0" eaLnBrk="1" latinLnBrk="0" hangingPunct="1">
        <a:spcBef>
          <a:spcPts val="357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667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612336" indent="-217695" algn="l" rtl="0" eaLnBrk="1" latinLnBrk="0" hangingPunct="1">
        <a:spcBef>
          <a:spcPts val="357"/>
        </a:spcBef>
        <a:buClr>
          <a:srgbClr val="9FB8CD"/>
        </a:buClr>
        <a:buSzPct val="75000"/>
        <a:buFont typeface="Wingdings 3"/>
        <a:buChar char=""/>
        <a:defRPr kumimoji="0" lang="en-US" sz="1417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54423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8847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3271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17694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72118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326542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8096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435389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BFD054-FE9F-C71F-7C62-56D63C91B90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ACD9A6-C2A4-9048-B627-1D8831AABF9B}" type="datetime3">
              <a:rPr lang="en-US" smtClean="0"/>
              <a:pPr/>
              <a:t>8 January 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935EE4-C4AB-9F00-82CB-F7B9A94CE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57984" y="1562912"/>
            <a:ext cx="10076033" cy="2317796"/>
          </a:xfrm>
        </p:spPr>
        <p:txBody>
          <a:bodyPr/>
          <a:lstStyle/>
          <a:p>
            <a:r>
              <a:rPr lang="en-US" sz="6650" dirty="0"/>
              <a:t>Can Farmed Salmon Ever Be Sustainable? 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935CB9-9B70-CA22-A704-41A8E6A6F1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300" b="1" dirty="0">
                <a:latin typeface="Century Schoolbook"/>
              </a:rPr>
              <a:t>Oxford Real Farming Conference 2025</a:t>
            </a:r>
          </a:p>
          <a:p>
            <a:r>
              <a:rPr lang="en-US" sz="2300" dirty="0">
                <a:latin typeface="Century Schoolbook"/>
              </a:rPr>
              <a:t>Friday 10 January | 9.00 – 10.30 am</a:t>
            </a:r>
          </a:p>
          <a:p>
            <a:r>
              <a:rPr lang="en-US" sz="2300" dirty="0">
                <a:latin typeface="Century Schoolbook"/>
              </a:rPr>
              <a:t>Town Hall Assembly Room</a:t>
            </a:r>
          </a:p>
        </p:txBody>
      </p:sp>
    </p:spTree>
    <p:extLst>
      <p:ext uri="{BB962C8B-B14F-4D97-AF65-F5344CB8AC3E}">
        <p14:creationId xmlns:p14="http://schemas.microsoft.com/office/powerpoint/2010/main" val="2241113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group of round objects in water with mountains in the background&#10;&#10;Description automatically generated">
            <a:extLst>
              <a:ext uri="{FF2B5EF4-FFF2-40B4-BE49-F238E27FC236}">
                <a16:creationId xmlns:a16="http://schemas.microsoft.com/office/drawing/2014/main" id="{212F0343-20B6-7148-6F56-0649A4CA222A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21" b="17605"/>
          <a:stretch/>
        </p:blipFill>
        <p:spPr>
          <a:xfrm>
            <a:off x="20" y="10"/>
            <a:ext cx="12191980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998787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ircular rings in the water&#10;&#10;Description automatically generated">
            <a:extLst>
              <a:ext uri="{FF2B5EF4-FFF2-40B4-BE49-F238E27FC236}">
                <a16:creationId xmlns:a16="http://schemas.microsoft.com/office/drawing/2014/main" id="{65996920-8A76-E623-A887-6E08DBDAD1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2F27554-58AF-6F63-7490-1DED93720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635" y="2482324"/>
            <a:ext cx="10646452" cy="1086005"/>
          </a:xfrm>
        </p:spPr>
        <p:txBody>
          <a:bodyPr/>
          <a:lstStyle/>
          <a:p>
            <a:r>
              <a:rPr lang="en-GB" sz="3200" b="1" dirty="0">
                <a:solidFill>
                  <a:schemeClr val="bg1"/>
                </a:solidFill>
                <a:latin typeface="+mj-lt"/>
              </a:rPr>
              <a:t>Francesco De Augustini</a:t>
            </a:r>
            <a:r>
              <a:rPr lang="en-GB" sz="3200" b="1" dirty="0">
                <a:latin typeface="+mj-lt"/>
              </a:rPr>
              <a:t>s</a:t>
            </a:r>
            <a:endParaRPr lang="en-NL" sz="3200" b="1" dirty="0">
              <a:solidFill>
                <a:schemeClr val="bg1"/>
              </a:solidFill>
              <a:latin typeface="+mj-lt"/>
            </a:endParaRPr>
          </a:p>
          <a:p>
            <a:r>
              <a:rPr lang="en-US" dirty="0"/>
              <a:t> </a:t>
            </a: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CA9FF01D-F818-6FF1-6085-7DF6E79B39F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37875" y="6117167"/>
            <a:ext cx="777875" cy="254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EA7C8D44-3667-46F6-9772-CC52308E2A7F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7477BA-9F04-F18F-CD09-639922FBB797}"/>
              </a:ext>
            </a:extLst>
          </p:cNvPr>
          <p:cNvSpPr txBox="1"/>
          <p:nvPr/>
        </p:nvSpPr>
        <p:spPr>
          <a:xfrm>
            <a:off x="687672" y="1466660"/>
            <a:ext cx="609724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</a:rPr>
              <a:t>Film Director</a:t>
            </a:r>
            <a:endParaRPr lang="en-NL" sz="4400" dirty="0"/>
          </a:p>
        </p:txBody>
      </p:sp>
    </p:spTree>
    <p:extLst>
      <p:ext uri="{BB962C8B-B14F-4D97-AF65-F5344CB8AC3E}">
        <p14:creationId xmlns:p14="http://schemas.microsoft.com/office/powerpoint/2010/main" val="143540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3DB55B-5E75-81B2-41A2-3C5F30C8B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6DD0B9-1B01-1E9C-6477-E1391D4CFCA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7C8D44-3667-46F6-9772-CC52308E2A7F}" type="slidenum">
              <a:rPr lang="en-US" sz="2400" smtClean="0">
                <a:solidFill>
                  <a:schemeClr val="bg1"/>
                </a:solidFill>
                <a:latin typeface="+mj-lt"/>
              </a:rPr>
              <a:pPr/>
              <a:t>4</a:t>
            </a:fld>
            <a:endParaRPr lang="en-US" sz="24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9" name="Picture 48" descr="A body of water with a dock in the distance&#10;&#10;Description automatically generated">
            <a:extLst>
              <a:ext uri="{FF2B5EF4-FFF2-40B4-BE49-F238E27FC236}">
                <a16:creationId xmlns:a16="http://schemas.microsoft.com/office/drawing/2014/main" id="{28F61FD3-8B4E-6022-6AF1-BBF9D0C79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8704"/>
            <a:ext cx="12192000" cy="6946703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8C47EFE-6B82-ABA9-A8DF-0FB28CC5B944}"/>
              </a:ext>
            </a:extLst>
          </p:cNvPr>
          <p:cNvSpPr txBox="1">
            <a:spLocks/>
          </p:cNvSpPr>
          <p:nvPr/>
        </p:nvSpPr>
        <p:spPr>
          <a:xfrm>
            <a:off x="450883" y="2961317"/>
            <a:ext cx="10737173" cy="380868"/>
          </a:xfrm>
          <a:prstGeom prst="rect">
            <a:avLst/>
          </a:prstGeom>
        </p:spPr>
        <p:txBody>
          <a:bodyPr>
            <a:noAutofit/>
          </a:bodyPr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Rachel Mulrenan, Scotland Director, Wild Fish</a:t>
            </a:r>
          </a:p>
          <a:p>
            <a:pPr marL="0" indent="0">
              <a:buNone/>
            </a:pPr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Caroline Bennett, Founder, Moshi Moshi &amp; Sole of Discretion (CIC)</a:t>
            </a:r>
          </a:p>
          <a:p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Ailsa McLellan, Oyster Farmer and North-west Co-ordinator, </a:t>
            </a:r>
            <a:r>
              <a:rPr lang="en-GB" sz="2200" b="1" dirty="0" err="1">
                <a:solidFill>
                  <a:schemeClr val="bg1"/>
                </a:solidFill>
                <a:latin typeface="+mj-lt"/>
              </a:rPr>
              <a:t>Seawilding</a:t>
            </a:r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endParaRPr lang="en-GB" sz="24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  <a:latin typeface="+mj-lt"/>
              </a:rPr>
              <a:t> </a:t>
            </a:r>
            <a:endParaRPr lang="en-NL" sz="2400" b="1" dirty="0">
              <a:solidFill>
                <a:schemeClr val="bg1"/>
              </a:solidFill>
              <a:latin typeface="+mj-lt"/>
            </a:endParaRPr>
          </a:p>
          <a:p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68471E9-E553-B3CA-8A60-30268142BD3F}"/>
              </a:ext>
            </a:extLst>
          </p:cNvPr>
          <p:cNvSpPr txBox="1">
            <a:spLocks/>
          </p:cNvSpPr>
          <p:nvPr/>
        </p:nvSpPr>
        <p:spPr>
          <a:xfrm>
            <a:off x="606462" y="1866172"/>
            <a:ext cx="2159090" cy="347112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6C43870-CBF9-9296-7E29-7987420C69FC}"/>
              </a:ext>
            </a:extLst>
          </p:cNvPr>
          <p:cNvSpPr txBox="1">
            <a:spLocks/>
          </p:cNvSpPr>
          <p:nvPr/>
        </p:nvSpPr>
        <p:spPr>
          <a:xfrm>
            <a:off x="3241475" y="1291937"/>
            <a:ext cx="3094690" cy="347112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82414126-D769-910F-AA0A-7D7010195D15}"/>
              </a:ext>
            </a:extLst>
          </p:cNvPr>
          <p:cNvSpPr txBox="1">
            <a:spLocks/>
          </p:cNvSpPr>
          <p:nvPr/>
        </p:nvSpPr>
        <p:spPr>
          <a:xfrm>
            <a:off x="6639870" y="911069"/>
            <a:ext cx="4945667" cy="380868"/>
          </a:xfrm>
          <a:prstGeom prst="rect">
            <a:avLst/>
          </a:prstGeom>
        </p:spPr>
        <p:txBody>
          <a:bodyPr>
            <a:noAutofit/>
          </a:bodyPr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E3677FD-45FD-6D64-A42C-EA0EAE11209C}"/>
              </a:ext>
            </a:extLst>
          </p:cNvPr>
          <p:cNvSpPr txBox="1">
            <a:spLocks/>
          </p:cNvSpPr>
          <p:nvPr/>
        </p:nvSpPr>
        <p:spPr>
          <a:xfrm>
            <a:off x="523075" y="1928201"/>
            <a:ext cx="10611858" cy="711344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 b="1" dirty="0" err="1">
                <a:solidFill>
                  <a:schemeClr val="bg1"/>
                </a:solidFill>
                <a:latin typeface="+mj-lt"/>
              </a:rPr>
              <a:t>Panellists</a:t>
            </a:r>
            <a:r>
              <a:rPr lang="en-US" sz="4400" b="1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36921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00F802-DF7C-7A60-1ADD-BC0AE5B5E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250" y="562952"/>
            <a:ext cx="11239500" cy="83934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3600" dirty="0"/>
              <a:t>Total staff employed in salmon production 2013-2023</a:t>
            </a:r>
            <a:endParaRPr lang="en-NL" sz="3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CAE3D6-612D-9913-6DB5-F80B199C6E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50820" y="6258952"/>
            <a:ext cx="6029184" cy="373901"/>
          </a:xfrm>
        </p:spPr>
        <p:txBody>
          <a:bodyPr/>
          <a:lstStyle/>
          <a:p>
            <a:r>
              <a:rPr lang="en-GB" sz="1400" b="1" dirty="0">
                <a:latin typeface="+mn-lt"/>
              </a:rPr>
              <a:t>Source: Scottish Fish Farm Production Survey, Scottish Government. </a:t>
            </a:r>
          </a:p>
          <a:p>
            <a:r>
              <a:rPr lang="en-GB" sz="1400" dirty="0">
                <a:solidFill>
                  <a:srgbClr val="333333"/>
                </a:solidFill>
                <a:latin typeface="+mn-lt"/>
              </a:rPr>
              <a:t>Su</a:t>
            </a:r>
            <a:r>
              <a:rPr lang="en-GB" sz="1400" b="0" dirty="0">
                <a:solidFill>
                  <a:srgbClr val="333333"/>
                </a:solidFill>
                <a:effectLst/>
                <a:latin typeface="+mn-lt"/>
              </a:rPr>
              <a:t>rvey information is collected from all 10 companies actively involved in Atlantic salmon production, farming 210 active sites, representing the entire industry operating in Scotland.</a:t>
            </a:r>
            <a:endParaRPr lang="en-NL" sz="1400" dirty="0">
              <a:latin typeface="+mn-lt"/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A4468E2F-1B9C-D795-A3C2-2E3732A0C3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7505039"/>
              </p:ext>
            </p:extLst>
          </p:nvPr>
        </p:nvGraphicFramePr>
        <p:xfrm>
          <a:off x="764274" y="1310647"/>
          <a:ext cx="10235821" cy="4687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156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C35616-8D15-1478-A968-D05B79C6DA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7C8D44-3667-46F6-9772-CC52308E2A7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4D9D8D-F694-2BD6-2426-6B5AEBCCB8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5285" y="1414943"/>
            <a:ext cx="5048250" cy="927100"/>
          </a:xfrm>
        </p:spPr>
        <p:txBody>
          <a:bodyPr/>
          <a:lstStyle/>
          <a:p>
            <a:r>
              <a:rPr lang="en-GB" sz="3200" dirty="0">
                <a:latin typeface="+mj-lt"/>
              </a:rPr>
              <a:t>Total employment in the Highlands &amp; Islands: 122,000</a:t>
            </a:r>
            <a:endParaRPr lang="en-NL" sz="3200" dirty="0">
              <a:latin typeface="+mj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39C02D-7DC0-FF33-EC08-6B1027A64C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5285" y="3961685"/>
            <a:ext cx="5048250" cy="927100"/>
          </a:xfrm>
        </p:spPr>
        <p:txBody>
          <a:bodyPr/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obs in wild salmon fishing in rivers and coasts: 4,300</a:t>
            </a:r>
            <a:endParaRPr lang="en-NL" sz="3200" b="1" i="0" dirty="0">
              <a:solidFill>
                <a:schemeClr val="accent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NL" sz="3200" dirty="0">
              <a:latin typeface="+mj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A8390B6-24D6-6CF3-A869-6E8B1CFC2F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1061" y="3226874"/>
            <a:ext cx="4033577" cy="433316"/>
          </a:xfrm>
        </p:spPr>
        <p:txBody>
          <a:bodyPr/>
          <a:lstStyle/>
          <a:p>
            <a:pPr marL="11516">
              <a:spcBef>
                <a:spcPts val="113"/>
              </a:spcBef>
            </a:pPr>
            <a:r>
              <a:rPr lang="en-GB" sz="12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ource: Office of National Statistics / Employment, unemployment and economic inactivity in the Highlands </a:t>
            </a:r>
            <a:endParaRPr lang="en-GB" sz="1200" dirty="0">
              <a:solidFill>
                <a:schemeClr val="accent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3CD63-F484-4605-4EAD-BBA2A80F64C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99486" y="4054690"/>
            <a:ext cx="5562772" cy="927100"/>
          </a:xfrm>
        </p:spPr>
        <p:txBody>
          <a:bodyPr/>
          <a:lstStyle/>
          <a:p>
            <a:r>
              <a:rPr lang="en-GB" sz="3200" dirty="0">
                <a:latin typeface="+mj-lt"/>
              </a:rPr>
              <a:t>Fishers employed on Scottish vessels/wild fisheries: 4,241 </a:t>
            </a:r>
            <a:endParaRPr lang="en-NL" sz="3200" dirty="0"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4A27090-D56E-537F-726C-B3B4E77531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00944" y="1412661"/>
            <a:ext cx="4636931" cy="927100"/>
          </a:xfrm>
        </p:spPr>
        <p:txBody>
          <a:bodyPr/>
          <a:lstStyle/>
          <a:p>
            <a:pPr marL="0" marR="0" indent="0" algn="l" defTabSz="130622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3200" b="1" dirty="0">
                <a:solidFill>
                  <a:schemeClr val="accent4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ourism employment in the Highlands in 2022: 18,000</a:t>
            </a:r>
            <a:endParaRPr lang="en-NL" sz="3200" b="1" i="0" dirty="0">
              <a:solidFill>
                <a:schemeClr val="accent4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443C325-8C5B-09F4-AD65-6BA6747B72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250" y="448237"/>
            <a:ext cx="11239500" cy="83934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Employment comparison</a:t>
            </a:r>
            <a:endParaRPr lang="en-NL" dirty="0"/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7569B640-7BB3-04A0-A004-F185349C8682}"/>
              </a:ext>
            </a:extLst>
          </p:cNvPr>
          <p:cNvSpPr txBox="1">
            <a:spLocks noGrp="1"/>
          </p:cNvSpPr>
          <p:nvPr>
            <p:ph type="body" sz="quarter" idx="25"/>
          </p:nvPr>
        </p:nvSpPr>
        <p:spPr>
          <a:xfrm>
            <a:off x="635285" y="5583074"/>
            <a:ext cx="3048000" cy="199202"/>
          </a:xfrm>
          <a:prstGeom prst="rect">
            <a:avLst/>
          </a:prstGeom>
        </p:spPr>
        <p:txBody>
          <a:bodyPr vert="horz" wrap="square" lIns="0" tIns="14395" rIns="0" bIns="0" rtlCol="0">
            <a:spAutoFit/>
          </a:bodyPr>
          <a:lstStyle/>
          <a:p>
            <a:pPr marL="11516">
              <a:spcBef>
                <a:spcPts val="113"/>
              </a:spcBef>
            </a:pPr>
            <a:r>
              <a:rPr sz="12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ource:</a:t>
            </a:r>
            <a:r>
              <a:rPr lang="en-GB" sz="12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Scottish Parliament report 2019</a:t>
            </a:r>
            <a:endParaRPr sz="1200" dirty="0">
              <a:solidFill>
                <a:schemeClr val="accent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A350EE11-38E3-AE96-BFB4-741836E75C00}"/>
              </a:ext>
            </a:extLst>
          </p:cNvPr>
          <p:cNvSpPr txBox="1">
            <a:spLocks noGrp="1"/>
          </p:cNvSpPr>
          <p:nvPr>
            <p:ph type="body" sz="quarter" idx="29"/>
          </p:nvPr>
        </p:nvSpPr>
        <p:spPr>
          <a:xfrm>
            <a:off x="6300944" y="3220313"/>
            <a:ext cx="3048000" cy="229979"/>
          </a:xfrm>
          <a:prstGeom prst="rect">
            <a:avLst/>
          </a:prstGeom>
        </p:spPr>
        <p:txBody>
          <a:bodyPr vert="horz" wrap="square" lIns="0" tIns="14395" rIns="0" bIns="0" rtlCol="0">
            <a:spAutoFit/>
          </a:bodyPr>
          <a:lstStyle/>
          <a:p>
            <a:pPr marL="11516">
              <a:spcBef>
                <a:spcPts val="113"/>
              </a:spcBef>
            </a:pPr>
            <a:r>
              <a:rPr sz="14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ource:</a:t>
            </a:r>
            <a:r>
              <a:rPr lang="en-GB" sz="14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VisitScotland.org</a:t>
            </a:r>
            <a:endParaRPr sz="1400" dirty="0">
              <a:solidFill>
                <a:schemeClr val="accent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A29704CE-781F-060D-6816-F713B9F508C2}"/>
              </a:ext>
            </a:extLst>
          </p:cNvPr>
          <p:cNvSpPr txBox="1">
            <a:spLocks/>
          </p:cNvSpPr>
          <p:nvPr/>
        </p:nvSpPr>
        <p:spPr>
          <a:xfrm>
            <a:off x="6299486" y="5605572"/>
            <a:ext cx="4038268" cy="199202"/>
          </a:xfrm>
          <a:prstGeom prst="rect">
            <a:avLst/>
          </a:prstGeom>
        </p:spPr>
        <p:txBody>
          <a:bodyPr vert="horz" wrap="square" lIns="0" tIns="14395" rIns="0" bIns="0" rtlCol="0" anchor="t">
            <a:spAutoFit/>
          </a:bodyPr>
          <a:lstStyle>
            <a:lvl1pPr marL="0" indent="0" algn="l" rtl="0" eaLnBrk="1" latinLnBrk="0" hangingPunct="1">
              <a:spcBef>
                <a:spcPts val="0"/>
              </a:spcBef>
              <a:spcAft>
                <a:spcPts val="667"/>
              </a:spcAft>
              <a:buClrTx/>
              <a:buSzPct val="100000"/>
              <a:buFont typeface="Arial"/>
              <a:buNone/>
              <a:defRPr kumimoji="0" sz="1667" b="0" i="0" kern="1200" cap="none" spc="-25" baseline="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16">
              <a:spcBef>
                <a:spcPts val="113"/>
              </a:spcBef>
            </a:pPr>
            <a:r>
              <a:rPr lang="en-GB" sz="12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ource: </a:t>
            </a:r>
            <a:r>
              <a:rPr lang="en-GB" sz="1200" spc="-18" dirty="0" err="1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Gov.Scot</a:t>
            </a:r>
            <a:r>
              <a:rPr lang="en-GB" sz="1200" spc="-18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/publications/Scottish-sea-fisheries-2021</a:t>
            </a:r>
            <a:endParaRPr lang="en-GB" sz="1200" dirty="0">
              <a:solidFill>
                <a:schemeClr val="accent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155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A06C6D-ACE9-1825-C7A1-C959DE552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862290-1813-206E-28A6-A95CBF2A5D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7C8D44-3667-46F6-9772-CC52308E2A7F}" type="slidenum">
              <a:rPr lang="en-US" sz="2400" smtClean="0">
                <a:solidFill>
                  <a:schemeClr val="bg1"/>
                </a:solidFill>
                <a:latin typeface="+mj-lt"/>
              </a:rPr>
              <a:pPr/>
              <a:t>7</a:t>
            </a:fld>
            <a:endParaRPr lang="en-US" sz="24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9" name="Picture 48" descr="A body of water with a dock in the distance&#10;&#10;Description automatically generated">
            <a:extLst>
              <a:ext uri="{FF2B5EF4-FFF2-40B4-BE49-F238E27FC236}">
                <a16:creationId xmlns:a16="http://schemas.microsoft.com/office/drawing/2014/main" id="{AFB58F7E-BAD8-EE95-D814-656EECDF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8704"/>
            <a:ext cx="12192000" cy="6946703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9E4B4658-91F5-AC53-A135-31861F70C72B}"/>
              </a:ext>
            </a:extLst>
          </p:cNvPr>
          <p:cNvSpPr txBox="1">
            <a:spLocks/>
          </p:cNvSpPr>
          <p:nvPr/>
        </p:nvSpPr>
        <p:spPr>
          <a:xfrm>
            <a:off x="450883" y="2961317"/>
            <a:ext cx="10737173" cy="380868"/>
          </a:xfrm>
          <a:prstGeom prst="rect">
            <a:avLst/>
          </a:prstGeom>
        </p:spPr>
        <p:txBody>
          <a:bodyPr>
            <a:noAutofit/>
          </a:bodyPr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Rachel Mulrenan, Scotland Director, Wild Fish</a:t>
            </a:r>
          </a:p>
          <a:p>
            <a:pPr marL="0" indent="0">
              <a:buNone/>
            </a:pPr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Caroline Bennett, Founder, Moshi Moshi &amp; Sole of Discretion (CIC)</a:t>
            </a:r>
          </a:p>
          <a:p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r>
              <a:rPr lang="en-GB" sz="2200" b="1" dirty="0">
                <a:solidFill>
                  <a:schemeClr val="bg1"/>
                </a:solidFill>
                <a:latin typeface="+mj-lt"/>
              </a:rPr>
              <a:t>Ailsa McLellan, Oyster Farmer and North-west Co-ordinator, </a:t>
            </a:r>
            <a:r>
              <a:rPr lang="en-GB" sz="2200" b="1" dirty="0" err="1">
                <a:solidFill>
                  <a:schemeClr val="bg1"/>
                </a:solidFill>
                <a:latin typeface="+mj-lt"/>
              </a:rPr>
              <a:t>Seawilding</a:t>
            </a:r>
            <a:endParaRPr lang="en-GB" sz="22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endParaRPr lang="en-GB" sz="24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  <a:latin typeface="+mj-lt"/>
              </a:rPr>
              <a:t> </a:t>
            </a:r>
            <a:endParaRPr lang="en-NL" sz="2400" b="1" dirty="0">
              <a:solidFill>
                <a:schemeClr val="bg1"/>
              </a:solidFill>
              <a:latin typeface="+mj-lt"/>
            </a:endParaRPr>
          </a:p>
          <a:p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F92E798-5144-0904-678B-A7A245A65654}"/>
              </a:ext>
            </a:extLst>
          </p:cNvPr>
          <p:cNvSpPr txBox="1">
            <a:spLocks/>
          </p:cNvSpPr>
          <p:nvPr/>
        </p:nvSpPr>
        <p:spPr>
          <a:xfrm>
            <a:off x="606462" y="1866172"/>
            <a:ext cx="2159090" cy="347112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36024215-DC2C-A71D-EFC2-DE5F8DF1EC51}"/>
              </a:ext>
            </a:extLst>
          </p:cNvPr>
          <p:cNvSpPr txBox="1">
            <a:spLocks/>
          </p:cNvSpPr>
          <p:nvPr/>
        </p:nvSpPr>
        <p:spPr>
          <a:xfrm>
            <a:off x="3241475" y="1291937"/>
            <a:ext cx="3094690" cy="347112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D1BD92BF-7CD2-12D8-8D23-D03A87735553}"/>
              </a:ext>
            </a:extLst>
          </p:cNvPr>
          <p:cNvSpPr txBox="1">
            <a:spLocks/>
          </p:cNvSpPr>
          <p:nvPr/>
        </p:nvSpPr>
        <p:spPr>
          <a:xfrm>
            <a:off x="6639870" y="911069"/>
            <a:ext cx="4945667" cy="380868"/>
          </a:xfrm>
          <a:prstGeom prst="rect">
            <a:avLst/>
          </a:prstGeom>
        </p:spPr>
        <p:txBody>
          <a:bodyPr>
            <a:noAutofit/>
          </a:bodyPr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NL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2CD4600-0A56-EDF4-7001-0877C2477746}"/>
              </a:ext>
            </a:extLst>
          </p:cNvPr>
          <p:cNvSpPr txBox="1">
            <a:spLocks/>
          </p:cNvSpPr>
          <p:nvPr/>
        </p:nvSpPr>
        <p:spPr>
          <a:xfrm>
            <a:off x="523075" y="1928201"/>
            <a:ext cx="10611858" cy="711344"/>
          </a:xfrm>
          <a:prstGeom prst="rect">
            <a:avLst/>
          </a:prstGeom>
        </p:spPr>
        <p:txBody>
          <a:bodyPr/>
          <a:lstStyle>
            <a:lvl1pPr marL="285739" indent="-285739" algn="l" rtl="0" eaLnBrk="1" latinLnBrk="0" hangingPunct="1">
              <a:spcBef>
                <a:spcPts val="0"/>
              </a:spcBef>
              <a:buClrTx/>
              <a:buSzPct val="100000"/>
              <a:buFont typeface="Arial"/>
              <a:buChar char="•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1pPr>
            <a:lvl2pPr marL="522532" indent="-234147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2pPr>
            <a:lvl3pPr marL="763293" indent="-240761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3pPr>
            <a:lvl4pPr marL="1045062" indent="-281770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4pPr>
            <a:lvl5pPr marL="1333447" indent="-288384" algn="l" rtl="0" eaLnBrk="1" latinLnBrk="0" hangingPunct="1">
              <a:spcBef>
                <a:spcPts val="0"/>
              </a:spcBef>
              <a:buClrTx/>
              <a:buSzPct val="100000"/>
              <a:buFont typeface="Lucida Grande"/>
              <a:buChar char="-"/>
              <a:defRPr kumimoji="0" sz="1750" b="0" i="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Arial"/>
              </a:defRPr>
            </a:lvl5pPr>
            <a:lvl6pPr marL="1959252" indent="-217695" algn="l" rtl="0" eaLnBrk="1" latinLnBrk="0" hangingPunct="1">
              <a:spcBef>
                <a:spcPts val="357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9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6947" indent="-217695" algn="l" rtl="0" eaLnBrk="1" latinLnBrk="0" hangingPunct="1">
              <a:spcBef>
                <a:spcPts val="357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4642" indent="-217695" algn="l" rtl="0" eaLnBrk="1" latinLnBrk="0" hangingPunct="1">
              <a:spcBef>
                <a:spcPts val="357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6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2336" indent="-217695" algn="l" rtl="0" eaLnBrk="1" latinLnBrk="0" hangingPunct="1">
              <a:spcBef>
                <a:spcPts val="357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41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 b="1" dirty="0" err="1">
                <a:solidFill>
                  <a:schemeClr val="bg1"/>
                </a:solidFill>
                <a:latin typeface="+mj-lt"/>
              </a:rPr>
              <a:t>Panellists</a:t>
            </a:r>
            <a:r>
              <a:rPr lang="en-US" sz="4400" b="1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518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ece of salmon on a hook&#10;&#10;Description automatically generated">
            <a:extLst>
              <a:ext uri="{FF2B5EF4-FFF2-40B4-BE49-F238E27FC236}">
                <a16:creationId xmlns:a16="http://schemas.microsoft.com/office/drawing/2014/main" id="{8142982A-ABE8-DCB5-4698-C573B7B250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9" t="27253" r="-2" b="20909"/>
          <a:stretch/>
        </p:blipFill>
        <p:spPr>
          <a:xfrm>
            <a:off x="-1" y="-304516"/>
            <a:ext cx="12938077" cy="7162516"/>
          </a:xfrm>
          <a:prstGeom prst="rect">
            <a:avLst/>
          </a:prstGeom>
          <a:noFill/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2AD89B1-9DF6-14A6-3726-8131772E48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6250" y="419424"/>
            <a:ext cx="11239500" cy="593562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GB" dirty="0"/>
              <a:t>Off the Table</a:t>
            </a:r>
            <a:endParaRPr lang="en-NL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B92E1B8C-0095-A6C8-2955-9CD91A80642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37875" y="6117167"/>
            <a:ext cx="777875" cy="254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EA7C8D44-3667-46F6-9772-CC52308E2A7F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172B33-9C9D-2D64-5C99-1AEB8C941BC8}"/>
              </a:ext>
            </a:extLst>
          </p:cNvPr>
          <p:cNvSpPr/>
          <p:nvPr/>
        </p:nvSpPr>
        <p:spPr>
          <a:xfrm>
            <a:off x="-2" y="1351128"/>
            <a:ext cx="7874759" cy="491744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E88549-073C-C963-4C34-F009197C77C2}"/>
              </a:ext>
            </a:extLst>
          </p:cNvPr>
          <p:cNvSpPr txBox="1"/>
          <p:nvPr/>
        </p:nvSpPr>
        <p:spPr>
          <a:xfrm>
            <a:off x="978735" y="2910622"/>
            <a:ext cx="9521874" cy="7657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130622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4800" b="1" dirty="0">
                <a:latin typeface="+mj-lt"/>
                <a:cs typeface="Avenir Next Regular"/>
              </a:rPr>
              <a:t>O</a:t>
            </a:r>
            <a:r>
              <a:rPr lang="en-GB" sz="4800" b="1" i="0" dirty="0">
                <a:latin typeface="+mj-lt"/>
                <a:cs typeface="Avenir Next Regular"/>
              </a:rPr>
              <a:t>ffthetable.org.uk/get-involved</a:t>
            </a:r>
            <a:endParaRPr lang="en-NL" sz="4800" b="1" i="0" dirty="0">
              <a:latin typeface="+mj-lt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587931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E302C520-33DE-DAF2-FC85-F3F72D7D5E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27177" y="5787070"/>
            <a:ext cx="1666875" cy="254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ACD9A6-C2A4-9048-B627-1D8831AABF9B}" type="datetime3">
              <a:rPr lang="en-US" smtClean="0"/>
              <a:pPr>
                <a:spcAft>
                  <a:spcPts val="600"/>
                </a:spcAft>
              </a:pPr>
              <a:t>8 January 2025</a:t>
            </a:fld>
            <a:endParaRPr lang="en-US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0BC7F25-654B-D737-6758-CA67D6354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2958" y="6117167"/>
            <a:ext cx="2032000" cy="254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Confidential: for internal use onl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4F4546-DF0B-9929-AC59-7C90C9DAC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57984" y="1715312"/>
            <a:ext cx="10076033" cy="2317796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Thank you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10145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atagonia_PPT_16x9">
  <a:themeElements>
    <a:clrScheme name="Patagonia50">
      <a:dk1>
        <a:srgbClr val="000000"/>
      </a:dk1>
      <a:lt1>
        <a:srgbClr val="FFFFFF"/>
      </a:lt1>
      <a:dk2>
        <a:srgbClr val="000000"/>
      </a:dk2>
      <a:lt2>
        <a:srgbClr val="EBE3DA"/>
      </a:lt2>
      <a:accent1>
        <a:srgbClr val="555170"/>
      </a:accent1>
      <a:accent2>
        <a:srgbClr val="97D3C3"/>
      </a:accent2>
      <a:accent3>
        <a:srgbClr val="447FA2"/>
      </a:accent3>
      <a:accent4>
        <a:srgbClr val="B66D5E"/>
      </a:accent4>
      <a:accent5>
        <a:srgbClr val="DEB9A8"/>
      </a:accent5>
      <a:accent6>
        <a:srgbClr val="A2B3C3"/>
      </a:accent6>
      <a:hlink>
        <a:srgbClr val="97D4C3"/>
      </a:hlink>
      <a:folHlink>
        <a:srgbClr val="B56C5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marR="0" indent="0" algn="l" defTabSz="1306220" rtl="0" eaLnBrk="1" fontAlgn="auto" latinLnBrk="0" hangingPunct="1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2400" b="1" i="0" dirty="0" smtClean="0">
            <a:latin typeface="Avenir Next Regular"/>
            <a:cs typeface="Avenir Next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T_S23_50th-Template_013023" id="{3D0DA069-ACEC-294D-920D-0CE83531669B}" vid="{D40A0C56-6776-F843-AA59-C8504DE6B3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D32695E9232347ACF67595C21BC314" ma:contentTypeVersion="21" ma:contentTypeDescription="Create a new document." ma:contentTypeScope="" ma:versionID="a8afe132df2d26cff3c04d588c022717">
  <xsd:schema xmlns:xsd="http://www.w3.org/2001/XMLSchema" xmlns:xs="http://www.w3.org/2001/XMLSchema" xmlns:p="http://schemas.microsoft.com/office/2006/metadata/properties" xmlns:ns2="01de4337-b625-4442-aec5-eb9b4a9a9b6f" xmlns:ns3="ffa359e4-f511-4c9c-8a64-0e2fabf69b79" xmlns:ns4="5e2fd75e-e154-4434-9812-e7f6721e91e7" targetNamespace="http://schemas.microsoft.com/office/2006/metadata/properties" ma:root="true" ma:fieldsID="d80b0a7f1bcb09204833709e29793652" ns2:_="" ns3:_="" ns4:_="">
    <xsd:import namespace="01de4337-b625-4442-aec5-eb9b4a9a9b6f"/>
    <xsd:import namespace="ffa359e4-f511-4c9c-8a64-0e2fabf69b79"/>
    <xsd:import namespace="5e2fd75e-e154-4434-9812-e7f6721e91e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3:TaxCatchAll" minOccurs="0"/>
                <xsd:element ref="ns4:lcf76f155ced4ddcb4097134ff3c332f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de4337-b625-4442-aec5-eb9b4a9a9b6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359e4-f511-4c9c-8a64-0e2fabf69b79" elementFormDefault="qualified">
    <xsd:import namespace="http://schemas.microsoft.com/office/2006/documentManagement/types"/>
    <xsd:import namespace="http://schemas.microsoft.com/office/infopath/2007/PartnerControls"/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3" nillable="true" ma:displayName="Taxonomy Catch All Column" ma:hidden="true" ma:list="{c9205874-9dee-4998-987f-6442d14b32a9}" ma:internalName="TaxCatchAll" ma:showField="CatchAllData" ma:web="ffa359e4-f511-4c9c-8a64-0e2fabf69b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2fd75e-e154-4434-9812-e7f6721e91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cb5d9c09-300f-4524-a127-a1e150e03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fa359e4-f511-4c9c-8a64-0e2fabf69b79" xsi:nil="true"/>
    <lcf76f155ced4ddcb4097134ff3c332f xmlns="5e2fd75e-e154-4434-9812-e7f6721e91e7">
      <Terms xmlns="http://schemas.microsoft.com/office/infopath/2007/PartnerControls"/>
    </lcf76f155ced4ddcb4097134ff3c332f>
    <SharedWithUsers xmlns="01de4337-b625-4442-aec5-eb9b4a9a9b6f">
      <UserInfo>
        <DisplayName>Gina Lovett</DisplayName>
        <AccountId>104</AccountId>
        <AccountType/>
      </UserInfo>
      <UserInfo>
        <DisplayName>Leonard Basse</DisplayName>
        <AccountId>4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D3858C-F95B-4C32-A2F1-1ED5134137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de4337-b625-4442-aec5-eb9b4a9a9b6f"/>
    <ds:schemaRef ds:uri="ffa359e4-f511-4c9c-8a64-0e2fabf69b79"/>
    <ds:schemaRef ds:uri="5e2fd75e-e154-4434-9812-e7f6721e91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30E4E3-727E-4473-8533-7AC0BD51211C}">
  <ds:schemaRefs>
    <ds:schemaRef ds:uri="http://schemas.microsoft.com/office/infopath/2007/PartnerControls"/>
    <ds:schemaRef ds:uri="http://purl.org/dc/terms/"/>
    <ds:schemaRef ds:uri="4b459327-9954-41ed-b8e0-82206581a095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7ab21f5c-52ac-47ef-9e6d-e701568bd5df"/>
    <ds:schemaRef ds:uri="http://www.w3.org/XML/1998/namespace"/>
    <ds:schemaRef ds:uri="ffa359e4-f511-4c9c-8a64-0e2fabf69b79"/>
    <ds:schemaRef ds:uri="5e2fd75e-e154-4434-9812-e7f6721e91e7"/>
    <ds:schemaRef ds:uri="01de4337-b625-4442-aec5-eb9b4a9a9b6f"/>
  </ds:schemaRefs>
</ds:datastoreItem>
</file>

<file path=customXml/itemProps3.xml><?xml version="1.0" encoding="utf-8"?>
<ds:datastoreItem xmlns:ds="http://schemas.openxmlformats.org/officeDocument/2006/customXml" ds:itemID="{FF46A482-09F7-42A9-8759-A0B32F9D03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65</TotalTime>
  <Words>257</Words>
  <Application>Microsoft Office PowerPoint</Application>
  <PresentationFormat>Widescreen</PresentationFormat>
  <Paragraphs>54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.Lucida Grande UI Regular</vt:lpstr>
      <vt:lpstr>Arial</vt:lpstr>
      <vt:lpstr>Avenir Next Medium</vt:lpstr>
      <vt:lpstr>Calibri</vt:lpstr>
      <vt:lpstr>Century Schoolbook</vt:lpstr>
      <vt:lpstr>Lucida Grande</vt:lpstr>
      <vt:lpstr>System Font Regular</vt:lpstr>
      <vt:lpstr>Wingdings 3</vt:lpstr>
      <vt:lpstr>Patagonia_PPT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na Lovett</dc:creator>
  <cp:lastModifiedBy>Gina Lovett</cp:lastModifiedBy>
  <cp:revision>280</cp:revision>
  <dcterms:created xsi:type="dcterms:W3CDTF">2024-02-15T16:14:26Z</dcterms:created>
  <dcterms:modified xsi:type="dcterms:W3CDTF">2025-01-08T13:3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70734F9B1EE24AB703FE7691187E75</vt:lpwstr>
  </property>
  <property fmtid="{D5CDD505-2E9C-101B-9397-08002B2CF9AE}" pid="3" name="MediaServiceImageTags">
    <vt:lpwstr/>
  </property>
</Properties>
</file>